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4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60" r:id="rId2"/>
    <p:sldMasterId id="2147483672" r:id="rId3"/>
    <p:sldMasterId id="2147487119" r:id="rId4"/>
    <p:sldMasterId id="2147487178" r:id="rId5"/>
  </p:sldMasterIdLst>
  <p:notesMasterIdLst>
    <p:notesMasterId r:id="rId15"/>
  </p:notesMasterIdLst>
  <p:handoutMasterIdLst>
    <p:handoutMasterId r:id="rId16"/>
  </p:handoutMasterIdLst>
  <p:sldIdLst>
    <p:sldId id="661" r:id="rId6"/>
    <p:sldId id="662" r:id="rId7"/>
    <p:sldId id="664" r:id="rId8"/>
    <p:sldId id="667" r:id="rId9"/>
    <p:sldId id="669" r:id="rId10"/>
    <p:sldId id="671" r:id="rId11"/>
    <p:sldId id="677" r:id="rId12"/>
    <p:sldId id="676" r:id="rId13"/>
    <p:sldId id="674" r:id="rId14"/>
  </p:sldIdLst>
  <p:sldSz cx="9144000" cy="6858000" type="screen4x3"/>
  <p:notesSz cx="7010400" cy="9296400"/>
  <p:custDataLst>
    <p:tags r:id="rId17"/>
  </p:custDataLst>
  <p:defaultTextStyle>
    <a:defPPr>
      <a:defRPr lang="ru-RU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Medium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Medium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Medium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Medium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Medium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Franklin Gothic Medium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Franklin Gothic Medium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Franklin Gothic Medium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Franklin Gothic Medium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DF4"/>
    <a:srgbClr val="CA5A5D"/>
    <a:srgbClr val="FF9F9F"/>
    <a:srgbClr val="CC0000"/>
    <a:srgbClr val="990033"/>
    <a:srgbClr val="E8F0F8"/>
    <a:srgbClr val="F0F5FA"/>
    <a:srgbClr val="E0E9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63" autoAdjust="0"/>
    <p:restoredTop sz="97080" autoAdjust="0"/>
  </p:normalViewPr>
  <p:slideViewPr>
    <p:cSldViewPr snapToGrid="0" snapToObjects="1">
      <p:cViewPr>
        <p:scale>
          <a:sx n="101" d="100"/>
          <a:sy n="101" d="100"/>
        </p:scale>
        <p:origin x="-1866" y="-330"/>
      </p:cViewPr>
      <p:guideLst>
        <p:guide orient="horz" pos="770"/>
        <p:guide orient="horz" pos="3976"/>
        <p:guide pos="55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86" d="100"/>
          <a:sy n="86" d="100"/>
        </p:scale>
        <p:origin x="-3126" y="-72"/>
      </p:cViewPr>
      <p:guideLst>
        <p:guide orient="horz" pos="2929"/>
        <p:guide pos="220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546500F-CC93-4664-B0A2-1B017686ACC4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6B91BD8-3821-438B-8D8D-955441E026A2}">
      <dgm:prSet phldrT="[Текст]" phldr="1"/>
      <dgm:spPr/>
      <dgm:t>
        <a:bodyPr/>
        <a:lstStyle/>
        <a:p>
          <a:endParaRPr lang="ru-RU" dirty="0"/>
        </a:p>
      </dgm:t>
    </dgm:pt>
    <dgm:pt modelId="{8AC840FC-FCA6-4DB6-93B3-28F4D1EB03BD}" type="parTrans" cxnId="{D00CE9E3-D318-4EA6-802F-5A0271266B6A}">
      <dgm:prSet/>
      <dgm:spPr/>
      <dgm:t>
        <a:bodyPr/>
        <a:lstStyle/>
        <a:p>
          <a:endParaRPr lang="ru-RU"/>
        </a:p>
      </dgm:t>
    </dgm:pt>
    <dgm:pt modelId="{8E2F89D2-9DEF-4809-8A26-122B262150A7}" type="sibTrans" cxnId="{D00CE9E3-D318-4EA6-802F-5A0271266B6A}">
      <dgm:prSet/>
      <dgm:spPr/>
      <dgm:t>
        <a:bodyPr/>
        <a:lstStyle/>
        <a:p>
          <a:endParaRPr lang="ru-RU"/>
        </a:p>
      </dgm:t>
    </dgm:pt>
    <dgm:pt modelId="{9ED0B65F-89F5-48B3-8A46-CE6393F5D5F4}">
      <dgm:prSet phldrT="[Текст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2000" dirty="0" err="1" smtClean="0">
              <a:solidFill>
                <a:schemeClr val="tx2"/>
              </a:solidFill>
            </a:rPr>
            <a:t>Этапность</a:t>
          </a:r>
          <a:r>
            <a:rPr lang="ru-RU" sz="2000" dirty="0" smtClean="0">
              <a:solidFill>
                <a:schemeClr val="tx2"/>
              </a:solidFill>
            </a:rPr>
            <a:t> формирования и развития</a:t>
          </a:r>
          <a:endParaRPr lang="ru-RU" sz="2000" dirty="0">
            <a:solidFill>
              <a:schemeClr val="tx2"/>
            </a:solidFill>
          </a:endParaRPr>
        </a:p>
      </dgm:t>
    </dgm:pt>
    <dgm:pt modelId="{59B6ED07-724C-4438-B85A-6E51508FB9B5}" type="parTrans" cxnId="{7BAF7D52-0DF3-4635-B1A9-0C45B07F1D92}">
      <dgm:prSet/>
      <dgm:spPr/>
      <dgm:t>
        <a:bodyPr/>
        <a:lstStyle/>
        <a:p>
          <a:endParaRPr lang="ru-RU"/>
        </a:p>
      </dgm:t>
    </dgm:pt>
    <dgm:pt modelId="{6949F436-35E3-44F0-9653-D54A1EE8713B}" type="sibTrans" cxnId="{7BAF7D52-0DF3-4635-B1A9-0C45B07F1D92}">
      <dgm:prSet/>
      <dgm:spPr/>
      <dgm:t>
        <a:bodyPr/>
        <a:lstStyle/>
        <a:p>
          <a:endParaRPr lang="ru-RU"/>
        </a:p>
      </dgm:t>
    </dgm:pt>
    <dgm:pt modelId="{599ACE95-A789-4010-A3D8-9B9D0689ECBD}">
      <dgm:prSet phldrT="[Текст]" phldr="1"/>
      <dgm:spPr/>
      <dgm:t>
        <a:bodyPr/>
        <a:lstStyle/>
        <a:p>
          <a:endParaRPr lang="ru-RU" dirty="0"/>
        </a:p>
      </dgm:t>
    </dgm:pt>
    <dgm:pt modelId="{9AF60AC3-7605-4410-AAFF-9C6296F376F7}" type="parTrans" cxnId="{CF0504A7-84A4-44CD-BBFF-B0F2FAD0448F}">
      <dgm:prSet/>
      <dgm:spPr/>
      <dgm:t>
        <a:bodyPr/>
        <a:lstStyle/>
        <a:p>
          <a:endParaRPr lang="ru-RU"/>
        </a:p>
      </dgm:t>
    </dgm:pt>
    <dgm:pt modelId="{16D74451-A639-4499-9539-0FCEFCC3D446}" type="sibTrans" cxnId="{CF0504A7-84A4-44CD-BBFF-B0F2FAD0448F}">
      <dgm:prSet/>
      <dgm:spPr/>
      <dgm:t>
        <a:bodyPr/>
        <a:lstStyle/>
        <a:p>
          <a:endParaRPr lang="ru-RU"/>
        </a:p>
      </dgm:t>
    </dgm:pt>
    <dgm:pt modelId="{B0C98D60-052E-498E-9F4D-68D65F97985B}">
      <dgm:prSet phldrT="[Текст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2000" dirty="0" smtClean="0">
              <a:solidFill>
                <a:schemeClr val="tx2"/>
              </a:solidFill>
            </a:rPr>
            <a:t>Учет мирового опыта и использование результатов научной мысли</a:t>
          </a:r>
          <a:endParaRPr lang="ru-RU" sz="2000" dirty="0">
            <a:solidFill>
              <a:schemeClr val="tx2"/>
            </a:solidFill>
          </a:endParaRPr>
        </a:p>
      </dgm:t>
    </dgm:pt>
    <dgm:pt modelId="{4868FE2E-312A-4DAE-81C1-F44CADF6C4F8}" type="parTrans" cxnId="{043E608F-4E35-4E79-8087-6C98628B477C}">
      <dgm:prSet/>
      <dgm:spPr/>
      <dgm:t>
        <a:bodyPr/>
        <a:lstStyle/>
        <a:p>
          <a:endParaRPr lang="ru-RU"/>
        </a:p>
      </dgm:t>
    </dgm:pt>
    <dgm:pt modelId="{B6A6FB64-1379-4F4B-8B44-823A86BE187B}" type="sibTrans" cxnId="{043E608F-4E35-4E79-8087-6C98628B477C}">
      <dgm:prSet/>
      <dgm:spPr/>
      <dgm:t>
        <a:bodyPr/>
        <a:lstStyle/>
        <a:p>
          <a:endParaRPr lang="ru-RU"/>
        </a:p>
      </dgm:t>
    </dgm:pt>
    <dgm:pt modelId="{475ADBF7-92D8-4413-B68D-0E1CEFBF721F}">
      <dgm:prSet phldrT="[Текст]" phldr="1"/>
      <dgm:spPr/>
      <dgm:t>
        <a:bodyPr/>
        <a:lstStyle/>
        <a:p>
          <a:endParaRPr lang="ru-RU" dirty="0"/>
        </a:p>
      </dgm:t>
    </dgm:pt>
    <dgm:pt modelId="{8196603E-3A0A-4F36-9274-E38858F24FC7}" type="parTrans" cxnId="{624B3B9E-E3DD-431A-AF4D-4D643860636E}">
      <dgm:prSet/>
      <dgm:spPr/>
      <dgm:t>
        <a:bodyPr/>
        <a:lstStyle/>
        <a:p>
          <a:endParaRPr lang="ru-RU"/>
        </a:p>
      </dgm:t>
    </dgm:pt>
    <dgm:pt modelId="{E7D2B3C7-54AD-4957-AD7E-03DFFAF78CB7}" type="sibTrans" cxnId="{624B3B9E-E3DD-431A-AF4D-4D643860636E}">
      <dgm:prSet/>
      <dgm:spPr/>
      <dgm:t>
        <a:bodyPr/>
        <a:lstStyle/>
        <a:p>
          <a:endParaRPr lang="ru-RU"/>
        </a:p>
      </dgm:t>
    </dgm:pt>
    <dgm:pt modelId="{984C66C2-7DDF-4C81-9BB7-C070B6443414}">
      <dgm:prSet phldrT="[Текст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algn="just"/>
          <a:r>
            <a:rPr lang="ru-RU" sz="2000" dirty="0" smtClean="0">
              <a:solidFill>
                <a:schemeClr val="tx2"/>
              </a:solidFill>
            </a:rPr>
            <a:t>Коммерциализация результатов и возвратность инвестиций</a:t>
          </a:r>
          <a:endParaRPr lang="ru-RU" sz="2000" dirty="0">
            <a:solidFill>
              <a:schemeClr val="tx2"/>
            </a:solidFill>
          </a:endParaRPr>
        </a:p>
      </dgm:t>
    </dgm:pt>
    <dgm:pt modelId="{284EBF38-EDCE-47DC-B4B2-5BD8C456856A}" type="parTrans" cxnId="{4AC4CDF7-5C3A-4312-9D67-CD7C7F3B1B98}">
      <dgm:prSet/>
      <dgm:spPr/>
      <dgm:t>
        <a:bodyPr/>
        <a:lstStyle/>
        <a:p>
          <a:endParaRPr lang="ru-RU"/>
        </a:p>
      </dgm:t>
    </dgm:pt>
    <dgm:pt modelId="{11AE96F5-FE00-44B8-AA61-213858AC13E7}" type="sibTrans" cxnId="{4AC4CDF7-5C3A-4312-9D67-CD7C7F3B1B98}">
      <dgm:prSet/>
      <dgm:spPr/>
      <dgm:t>
        <a:bodyPr/>
        <a:lstStyle/>
        <a:p>
          <a:endParaRPr lang="ru-RU"/>
        </a:p>
      </dgm:t>
    </dgm:pt>
    <dgm:pt modelId="{C4A4A53E-A2E1-4734-A296-5F07E9BF1F9E}" type="pres">
      <dgm:prSet presAssocID="{0546500F-CC93-4664-B0A2-1B017686ACC4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6105CDD-347C-4C6A-B3C6-E72FB95D34F2}" type="pres">
      <dgm:prSet presAssocID="{26B91BD8-3821-438B-8D8D-955441E026A2}" presName="composite" presStyleCnt="0"/>
      <dgm:spPr/>
    </dgm:pt>
    <dgm:pt modelId="{C3DE72CC-E4EB-4F36-A550-A36A3B427253}" type="pres">
      <dgm:prSet presAssocID="{26B91BD8-3821-438B-8D8D-955441E026A2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76A7AFB-79CE-45BD-A932-DBD12D332970}" type="pres">
      <dgm:prSet presAssocID="{26B91BD8-3821-438B-8D8D-955441E026A2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31CD1F7-6F37-4AFA-8B35-413015FCCADE}" type="pres">
      <dgm:prSet presAssocID="{8E2F89D2-9DEF-4809-8A26-122B262150A7}" presName="sp" presStyleCnt="0"/>
      <dgm:spPr/>
    </dgm:pt>
    <dgm:pt modelId="{1E94E3BC-AA18-4FEB-ABE3-F7577D799C14}" type="pres">
      <dgm:prSet presAssocID="{599ACE95-A789-4010-A3D8-9B9D0689ECBD}" presName="composite" presStyleCnt="0"/>
      <dgm:spPr/>
    </dgm:pt>
    <dgm:pt modelId="{503A7F52-2C75-4BA9-908A-A2C05C753D1C}" type="pres">
      <dgm:prSet presAssocID="{599ACE95-A789-4010-A3D8-9B9D0689ECBD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870C7E5-58FD-411E-92F9-16F3EA545C14}" type="pres">
      <dgm:prSet presAssocID="{599ACE95-A789-4010-A3D8-9B9D0689ECBD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943ED74-23CB-41DA-AE1B-01240096C498}" type="pres">
      <dgm:prSet presAssocID="{16D74451-A639-4499-9539-0FCEFCC3D446}" presName="sp" presStyleCnt="0"/>
      <dgm:spPr/>
    </dgm:pt>
    <dgm:pt modelId="{C4E3FD60-E9B0-4271-AAC6-82ADDB20B7EC}" type="pres">
      <dgm:prSet presAssocID="{475ADBF7-92D8-4413-B68D-0E1CEFBF721F}" presName="composite" presStyleCnt="0"/>
      <dgm:spPr/>
    </dgm:pt>
    <dgm:pt modelId="{61B0CCF2-361F-46A2-A5BC-29420186EC29}" type="pres">
      <dgm:prSet presAssocID="{475ADBF7-92D8-4413-B68D-0E1CEFBF721F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C353B86-56C3-4AFB-A392-0BD3FCEC131B}" type="pres">
      <dgm:prSet presAssocID="{475ADBF7-92D8-4413-B68D-0E1CEFBF721F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F53CBEE-35AF-4375-B463-C3BB8B96232D}" type="presOf" srcId="{984C66C2-7DDF-4C81-9BB7-C070B6443414}" destId="{FC353B86-56C3-4AFB-A392-0BD3FCEC131B}" srcOrd="0" destOrd="0" presId="urn:microsoft.com/office/officeart/2005/8/layout/chevron2"/>
    <dgm:cxn modelId="{1C0BB954-EFCB-443B-9661-695C33C027A8}" type="presOf" srcId="{9ED0B65F-89F5-48B3-8A46-CE6393F5D5F4}" destId="{476A7AFB-79CE-45BD-A932-DBD12D332970}" srcOrd="0" destOrd="0" presId="urn:microsoft.com/office/officeart/2005/8/layout/chevron2"/>
    <dgm:cxn modelId="{8DFDFB1C-48F1-4A35-9AFA-CAF54A3D0278}" type="presOf" srcId="{26B91BD8-3821-438B-8D8D-955441E026A2}" destId="{C3DE72CC-E4EB-4F36-A550-A36A3B427253}" srcOrd="0" destOrd="0" presId="urn:microsoft.com/office/officeart/2005/8/layout/chevron2"/>
    <dgm:cxn modelId="{9965ABBD-3FE2-4FD7-ABDE-878C984B9105}" type="presOf" srcId="{0546500F-CC93-4664-B0A2-1B017686ACC4}" destId="{C4A4A53E-A2E1-4734-A296-5F07E9BF1F9E}" srcOrd="0" destOrd="0" presId="urn:microsoft.com/office/officeart/2005/8/layout/chevron2"/>
    <dgm:cxn modelId="{7BAF7D52-0DF3-4635-B1A9-0C45B07F1D92}" srcId="{26B91BD8-3821-438B-8D8D-955441E026A2}" destId="{9ED0B65F-89F5-48B3-8A46-CE6393F5D5F4}" srcOrd="0" destOrd="0" parTransId="{59B6ED07-724C-4438-B85A-6E51508FB9B5}" sibTransId="{6949F436-35E3-44F0-9653-D54A1EE8713B}"/>
    <dgm:cxn modelId="{CF0504A7-84A4-44CD-BBFF-B0F2FAD0448F}" srcId="{0546500F-CC93-4664-B0A2-1B017686ACC4}" destId="{599ACE95-A789-4010-A3D8-9B9D0689ECBD}" srcOrd="1" destOrd="0" parTransId="{9AF60AC3-7605-4410-AAFF-9C6296F376F7}" sibTransId="{16D74451-A639-4499-9539-0FCEFCC3D446}"/>
    <dgm:cxn modelId="{4AC4CDF7-5C3A-4312-9D67-CD7C7F3B1B98}" srcId="{475ADBF7-92D8-4413-B68D-0E1CEFBF721F}" destId="{984C66C2-7DDF-4C81-9BB7-C070B6443414}" srcOrd="0" destOrd="0" parTransId="{284EBF38-EDCE-47DC-B4B2-5BD8C456856A}" sibTransId="{11AE96F5-FE00-44B8-AA61-213858AC13E7}"/>
    <dgm:cxn modelId="{624B3B9E-E3DD-431A-AF4D-4D643860636E}" srcId="{0546500F-CC93-4664-B0A2-1B017686ACC4}" destId="{475ADBF7-92D8-4413-B68D-0E1CEFBF721F}" srcOrd="2" destOrd="0" parTransId="{8196603E-3A0A-4F36-9274-E38858F24FC7}" sibTransId="{E7D2B3C7-54AD-4957-AD7E-03DFFAF78CB7}"/>
    <dgm:cxn modelId="{1C44159B-94EC-44AC-BE4F-92CCC1063A7B}" type="presOf" srcId="{B0C98D60-052E-498E-9F4D-68D65F97985B}" destId="{E870C7E5-58FD-411E-92F9-16F3EA545C14}" srcOrd="0" destOrd="0" presId="urn:microsoft.com/office/officeart/2005/8/layout/chevron2"/>
    <dgm:cxn modelId="{263E08EB-2A63-43DE-B011-6E4316186AB4}" type="presOf" srcId="{475ADBF7-92D8-4413-B68D-0E1CEFBF721F}" destId="{61B0CCF2-361F-46A2-A5BC-29420186EC29}" srcOrd="0" destOrd="0" presId="urn:microsoft.com/office/officeart/2005/8/layout/chevron2"/>
    <dgm:cxn modelId="{D00CE9E3-D318-4EA6-802F-5A0271266B6A}" srcId="{0546500F-CC93-4664-B0A2-1B017686ACC4}" destId="{26B91BD8-3821-438B-8D8D-955441E026A2}" srcOrd="0" destOrd="0" parTransId="{8AC840FC-FCA6-4DB6-93B3-28F4D1EB03BD}" sibTransId="{8E2F89D2-9DEF-4809-8A26-122B262150A7}"/>
    <dgm:cxn modelId="{043E608F-4E35-4E79-8087-6C98628B477C}" srcId="{599ACE95-A789-4010-A3D8-9B9D0689ECBD}" destId="{B0C98D60-052E-498E-9F4D-68D65F97985B}" srcOrd="0" destOrd="0" parTransId="{4868FE2E-312A-4DAE-81C1-F44CADF6C4F8}" sibTransId="{B6A6FB64-1379-4F4B-8B44-823A86BE187B}"/>
    <dgm:cxn modelId="{7A882EDC-BC3B-4A19-B2E3-7A44ADE1CECD}" type="presOf" srcId="{599ACE95-A789-4010-A3D8-9B9D0689ECBD}" destId="{503A7F52-2C75-4BA9-908A-A2C05C753D1C}" srcOrd="0" destOrd="0" presId="urn:microsoft.com/office/officeart/2005/8/layout/chevron2"/>
    <dgm:cxn modelId="{FD173788-9DC9-4813-923D-418C46A3E907}" type="presParOf" srcId="{C4A4A53E-A2E1-4734-A296-5F07E9BF1F9E}" destId="{96105CDD-347C-4C6A-B3C6-E72FB95D34F2}" srcOrd="0" destOrd="0" presId="urn:microsoft.com/office/officeart/2005/8/layout/chevron2"/>
    <dgm:cxn modelId="{65BB63A2-1315-48F0-8F5B-09CF94B4EEB7}" type="presParOf" srcId="{96105CDD-347C-4C6A-B3C6-E72FB95D34F2}" destId="{C3DE72CC-E4EB-4F36-A550-A36A3B427253}" srcOrd="0" destOrd="0" presId="urn:microsoft.com/office/officeart/2005/8/layout/chevron2"/>
    <dgm:cxn modelId="{A8BCC629-7D35-4651-A38A-2417337BB083}" type="presParOf" srcId="{96105CDD-347C-4C6A-B3C6-E72FB95D34F2}" destId="{476A7AFB-79CE-45BD-A932-DBD12D332970}" srcOrd="1" destOrd="0" presId="urn:microsoft.com/office/officeart/2005/8/layout/chevron2"/>
    <dgm:cxn modelId="{CA757710-5FF7-48EA-AB28-87FC97A39125}" type="presParOf" srcId="{C4A4A53E-A2E1-4734-A296-5F07E9BF1F9E}" destId="{431CD1F7-6F37-4AFA-8B35-413015FCCADE}" srcOrd="1" destOrd="0" presId="urn:microsoft.com/office/officeart/2005/8/layout/chevron2"/>
    <dgm:cxn modelId="{5DD66A74-5D67-4B7B-9AEB-201BD7568EA7}" type="presParOf" srcId="{C4A4A53E-A2E1-4734-A296-5F07E9BF1F9E}" destId="{1E94E3BC-AA18-4FEB-ABE3-F7577D799C14}" srcOrd="2" destOrd="0" presId="urn:microsoft.com/office/officeart/2005/8/layout/chevron2"/>
    <dgm:cxn modelId="{1610D80B-44BD-4CE7-BF3D-99C16B690877}" type="presParOf" srcId="{1E94E3BC-AA18-4FEB-ABE3-F7577D799C14}" destId="{503A7F52-2C75-4BA9-908A-A2C05C753D1C}" srcOrd="0" destOrd="0" presId="urn:microsoft.com/office/officeart/2005/8/layout/chevron2"/>
    <dgm:cxn modelId="{B810503B-D99F-4BF4-A8F5-92A839B62E46}" type="presParOf" srcId="{1E94E3BC-AA18-4FEB-ABE3-F7577D799C14}" destId="{E870C7E5-58FD-411E-92F9-16F3EA545C14}" srcOrd="1" destOrd="0" presId="urn:microsoft.com/office/officeart/2005/8/layout/chevron2"/>
    <dgm:cxn modelId="{9378151C-AFC2-4501-9D3F-AC6F2DACB342}" type="presParOf" srcId="{C4A4A53E-A2E1-4734-A296-5F07E9BF1F9E}" destId="{A943ED74-23CB-41DA-AE1B-01240096C498}" srcOrd="3" destOrd="0" presId="urn:microsoft.com/office/officeart/2005/8/layout/chevron2"/>
    <dgm:cxn modelId="{90C7244C-9376-4EB4-97BD-CEEA1C036BCA}" type="presParOf" srcId="{C4A4A53E-A2E1-4734-A296-5F07E9BF1F9E}" destId="{C4E3FD60-E9B0-4271-AAC6-82ADDB20B7EC}" srcOrd="4" destOrd="0" presId="urn:microsoft.com/office/officeart/2005/8/layout/chevron2"/>
    <dgm:cxn modelId="{EB8812D9-B666-4F68-86DB-2EA16A6000F5}" type="presParOf" srcId="{C4E3FD60-E9B0-4271-AAC6-82ADDB20B7EC}" destId="{61B0CCF2-361F-46A2-A5BC-29420186EC29}" srcOrd="0" destOrd="0" presId="urn:microsoft.com/office/officeart/2005/8/layout/chevron2"/>
    <dgm:cxn modelId="{6211B578-D1BF-4343-87E9-179224360889}" type="presParOf" srcId="{C4E3FD60-E9B0-4271-AAC6-82ADDB20B7EC}" destId="{FC353B86-56C3-4AFB-A392-0BD3FCEC131B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9D23907-5A71-4AFB-9FCB-4393BA1E54F5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FAC8E149-B210-435D-B627-9D9CEAB9DD80}">
      <dgm:prSet phldrT="[Текст]" custT="1"/>
      <dgm:spPr>
        <a:gradFill rotWithShape="0">
          <a:gsLst>
            <a:gs pos="0">
              <a:schemeClr val="tx2">
                <a:lumMod val="60000"/>
                <a:lumOff val="40000"/>
              </a:schemeClr>
            </a:gs>
            <a:gs pos="30000">
              <a:schemeClr val="tx2">
                <a:lumMod val="40000"/>
                <a:lumOff val="60000"/>
              </a:schemeClr>
            </a:gs>
            <a:gs pos="100000">
              <a:schemeClr val="bg1"/>
            </a:gs>
          </a:gsLst>
          <a:lin ang="5400000" scaled="1"/>
        </a:gradFill>
        <a:ln w="22225">
          <a:solidFill>
            <a:schemeClr val="tx2">
              <a:lumMod val="60000"/>
              <a:lumOff val="40000"/>
            </a:schemeClr>
          </a:solidFill>
        </a:ln>
      </dgm:spPr>
      <dgm:t>
        <a:bodyPr/>
        <a:lstStyle/>
        <a:p>
          <a:pPr>
            <a:lnSpc>
              <a:spcPct val="130000"/>
            </a:lnSpc>
            <a:spcAft>
              <a:spcPts val="0"/>
            </a:spcAft>
          </a:pPr>
          <a:r>
            <a:rPr lang="ru-RU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Коммерческий оператор сети ОАО «Россети» </a:t>
          </a:r>
          <a:endParaRPr lang="ru-RU" sz="14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EC1D448-20ED-4EF1-9760-3957E5576EA2}" type="parTrans" cxnId="{2A94AFBD-7E84-4CF9-89EF-3B92C3278F13}">
      <dgm:prSet/>
      <dgm:spPr/>
      <dgm:t>
        <a:bodyPr/>
        <a:lstStyle/>
        <a:p>
          <a:endParaRPr lang="ru-RU"/>
        </a:p>
      </dgm:t>
    </dgm:pt>
    <dgm:pt modelId="{BF9A2714-DC18-45CD-876A-9037ED9555F7}" type="sibTrans" cxnId="{2A94AFBD-7E84-4CF9-89EF-3B92C3278F13}">
      <dgm:prSet/>
      <dgm:spPr/>
      <dgm:t>
        <a:bodyPr/>
        <a:lstStyle/>
        <a:p>
          <a:endParaRPr lang="ru-RU"/>
        </a:p>
      </dgm:t>
    </dgm:pt>
    <dgm:pt modelId="{D8B61194-D970-48FF-855B-660BB88D52F0}">
      <dgm:prSet phldrT="[Текст]" custT="1"/>
      <dgm:spPr>
        <a:gradFill rotWithShape="0">
          <a:gsLst>
            <a:gs pos="0">
              <a:schemeClr val="tx2">
                <a:lumMod val="60000"/>
                <a:lumOff val="40000"/>
              </a:schemeClr>
            </a:gs>
            <a:gs pos="30000">
              <a:schemeClr val="tx2">
                <a:lumMod val="40000"/>
                <a:lumOff val="60000"/>
              </a:schemeClr>
            </a:gs>
            <a:gs pos="100000">
              <a:schemeClr val="bg1"/>
            </a:gs>
          </a:gsLst>
          <a:lin ang="5400000" scaled="0"/>
        </a:gradFill>
        <a:ln w="22225">
          <a:solidFill>
            <a:schemeClr val="tx2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altLang="ko-KR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Коммерческий оператор </a:t>
          </a:r>
        </a:p>
        <a:p>
          <a:pPr>
            <a:lnSpc>
              <a:spcPct val="130000"/>
            </a:lnSpc>
            <a:spcAft>
              <a:spcPts val="0"/>
            </a:spcAft>
          </a:pPr>
          <a:r>
            <a:rPr lang="ru-RU" altLang="ko-KR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национальной сети</a:t>
          </a:r>
          <a:endParaRPr lang="ru-RU" sz="14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30C724E-1E4A-492C-819F-5E58EEE97F42}" type="parTrans" cxnId="{B55C133D-362C-4B5B-94D4-E7F6FE71CFE0}">
      <dgm:prSet/>
      <dgm:spPr/>
      <dgm:t>
        <a:bodyPr/>
        <a:lstStyle/>
        <a:p>
          <a:endParaRPr lang="ru-RU"/>
        </a:p>
      </dgm:t>
    </dgm:pt>
    <dgm:pt modelId="{7B6B14FF-8758-43D5-A949-E964B228FEF1}" type="sibTrans" cxnId="{B55C133D-362C-4B5B-94D4-E7F6FE71CFE0}">
      <dgm:prSet/>
      <dgm:spPr/>
      <dgm:t>
        <a:bodyPr/>
        <a:lstStyle/>
        <a:p>
          <a:endParaRPr lang="ru-RU"/>
        </a:p>
      </dgm:t>
    </dgm:pt>
    <dgm:pt modelId="{26CF4F7F-C4FC-4517-AE28-1A4C1EB1C8AB}">
      <dgm:prSet phldrT="[Текст]" custT="1"/>
      <dgm:spPr>
        <a:gradFill rotWithShape="0">
          <a:gsLst>
            <a:gs pos="0">
              <a:schemeClr val="tx2">
                <a:lumMod val="60000"/>
                <a:lumOff val="40000"/>
              </a:schemeClr>
            </a:gs>
            <a:gs pos="30000">
              <a:schemeClr val="tx2">
                <a:lumMod val="40000"/>
                <a:lumOff val="60000"/>
              </a:schemeClr>
            </a:gs>
            <a:gs pos="100000">
              <a:schemeClr val="bg1"/>
            </a:gs>
          </a:gsLst>
          <a:lin ang="5400000" scaled="0"/>
        </a:gradFill>
        <a:ln w="22225">
          <a:solidFill>
            <a:schemeClr val="tx2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altLang="ko-KR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Развитие национальной сети</a:t>
          </a:r>
          <a:endParaRPr lang="ru-RU" sz="14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FE1738D-B8BA-4A61-B552-B915C559AEB1}" type="parTrans" cxnId="{D2EAC7A4-2207-445F-AD55-1EB6D1F47239}">
      <dgm:prSet/>
      <dgm:spPr/>
      <dgm:t>
        <a:bodyPr/>
        <a:lstStyle/>
        <a:p>
          <a:endParaRPr lang="ru-RU"/>
        </a:p>
      </dgm:t>
    </dgm:pt>
    <dgm:pt modelId="{BF76C385-B1D5-4412-9EFE-5AD35E535723}" type="sibTrans" cxnId="{D2EAC7A4-2207-445F-AD55-1EB6D1F47239}">
      <dgm:prSet/>
      <dgm:spPr/>
      <dgm:t>
        <a:bodyPr/>
        <a:lstStyle/>
        <a:p>
          <a:endParaRPr lang="ru-RU"/>
        </a:p>
      </dgm:t>
    </dgm:pt>
    <dgm:pt modelId="{79C4F9A6-D75A-4A51-A2A1-87956125C1E4}" type="pres">
      <dgm:prSet presAssocID="{19D23907-5A71-4AFB-9FCB-4393BA1E54F5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DE08538-6040-40D8-A0E9-26D4C23FD9D5}" type="pres">
      <dgm:prSet presAssocID="{FAC8E149-B210-435D-B627-9D9CEAB9DD80}" presName="parTxOnly" presStyleLbl="node1" presStyleIdx="0" presStyleCnt="3" custScaleX="33523" custLinFactX="-6123" custLinFactNeighborX="-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9084536-154E-4754-BB1F-EAA77C50CA49}" type="pres">
      <dgm:prSet presAssocID="{BF9A2714-DC18-45CD-876A-9037ED9555F7}" presName="parTxOnlySpace" presStyleCnt="0"/>
      <dgm:spPr/>
    </dgm:pt>
    <dgm:pt modelId="{387EA957-2E90-439A-8989-3EE0019317BB}" type="pres">
      <dgm:prSet presAssocID="{D8B61194-D970-48FF-855B-660BB88D52F0}" presName="parTxOnly" presStyleLbl="node1" presStyleIdx="1" presStyleCnt="3" custScaleX="36298" custLinFactNeighborX="301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9528191-2490-454C-BD56-5935338890AD}" type="pres">
      <dgm:prSet presAssocID="{7B6B14FF-8758-43D5-A949-E964B228FEF1}" presName="parTxOnlySpace" presStyleCnt="0"/>
      <dgm:spPr/>
    </dgm:pt>
    <dgm:pt modelId="{932A6C5B-DB25-4C8E-9754-31B486C379AD}" type="pres">
      <dgm:prSet presAssocID="{26CF4F7F-C4FC-4517-AE28-1A4C1EB1C8AB}" presName="parTxOnly" presStyleLbl="node1" presStyleIdx="2" presStyleCnt="3" custScaleX="33160" custLinFactNeighborX="88151" custLinFactNeighborY="48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92595DF-A3A6-493E-B721-514E376A788A}" type="presOf" srcId="{19D23907-5A71-4AFB-9FCB-4393BA1E54F5}" destId="{79C4F9A6-D75A-4A51-A2A1-87956125C1E4}" srcOrd="0" destOrd="0" presId="urn:microsoft.com/office/officeart/2005/8/layout/chevron1"/>
    <dgm:cxn modelId="{42C0311A-AA06-493F-B88A-E92C5DAA0DFF}" type="presOf" srcId="{26CF4F7F-C4FC-4517-AE28-1A4C1EB1C8AB}" destId="{932A6C5B-DB25-4C8E-9754-31B486C379AD}" srcOrd="0" destOrd="0" presId="urn:microsoft.com/office/officeart/2005/8/layout/chevron1"/>
    <dgm:cxn modelId="{96A24D91-D7F9-4D4D-B280-7E68E76CBA3B}" type="presOf" srcId="{FAC8E149-B210-435D-B627-9D9CEAB9DD80}" destId="{7DE08538-6040-40D8-A0E9-26D4C23FD9D5}" srcOrd="0" destOrd="0" presId="urn:microsoft.com/office/officeart/2005/8/layout/chevron1"/>
    <dgm:cxn modelId="{D2EAC7A4-2207-445F-AD55-1EB6D1F47239}" srcId="{19D23907-5A71-4AFB-9FCB-4393BA1E54F5}" destId="{26CF4F7F-C4FC-4517-AE28-1A4C1EB1C8AB}" srcOrd="2" destOrd="0" parTransId="{CFE1738D-B8BA-4A61-B552-B915C559AEB1}" sibTransId="{BF76C385-B1D5-4412-9EFE-5AD35E535723}"/>
    <dgm:cxn modelId="{606F446C-E674-4C32-9BDD-1A88A22BCC86}" type="presOf" srcId="{D8B61194-D970-48FF-855B-660BB88D52F0}" destId="{387EA957-2E90-439A-8989-3EE0019317BB}" srcOrd="0" destOrd="0" presId="urn:microsoft.com/office/officeart/2005/8/layout/chevron1"/>
    <dgm:cxn modelId="{2A94AFBD-7E84-4CF9-89EF-3B92C3278F13}" srcId="{19D23907-5A71-4AFB-9FCB-4393BA1E54F5}" destId="{FAC8E149-B210-435D-B627-9D9CEAB9DD80}" srcOrd="0" destOrd="0" parTransId="{FEC1D448-20ED-4EF1-9760-3957E5576EA2}" sibTransId="{BF9A2714-DC18-45CD-876A-9037ED9555F7}"/>
    <dgm:cxn modelId="{B55C133D-362C-4B5B-94D4-E7F6FE71CFE0}" srcId="{19D23907-5A71-4AFB-9FCB-4393BA1E54F5}" destId="{D8B61194-D970-48FF-855B-660BB88D52F0}" srcOrd="1" destOrd="0" parTransId="{B30C724E-1E4A-492C-819F-5E58EEE97F42}" sibTransId="{7B6B14FF-8758-43D5-A949-E964B228FEF1}"/>
    <dgm:cxn modelId="{95296EDF-290C-4F39-9E02-64CE30101A50}" type="presParOf" srcId="{79C4F9A6-D75A-4A51-A2A1-87956125C1E4}" destId="{7DE08538-6040-40D8-A0E9-26D4C23FD9D5}" srcOrd="0" destOrd="0" presId="urn:microsoft.com/office/officeart/2005/8/layout/chevron1"/>
    <dgm:cxn modelId="{B53B1688-A694-44F9-9BDD-A8F8A2BD19CD}" type="presParOf" srcId="{79C4F9A6-D75A-4A51-A2A1-87956125C1E4}" destId="{A9084536-154E-4754-BB1F-EAA77C50CA49}" srcOrd="1" destOrd="0" presId="urn:microsoft.com/office/officeart/2005/8/layout/chevron1"/>
    <dgm:cxn modelId="{2B2BCAFE-D038-4521-9F36-2C35AB54423F}" type="presParOf" srcId="{79C4F9A6-D75A-4A51-A2A1-87956125C1E4}" destId="{387EA957-2E90-439A-8989-3EE0019317BB}" srcOrd="2" destOrd="0" presId="urn:microsoft.com/office/officeart/2005/8/layout/chevron1"/>
    <dgm:cxn modelId="{F13F3F8D-ECF8-464B-94B9-AB6D4F915E43}" type="presParOf" srcId="{79C4F9A6-D75A-4A51-A2A1-87956125C1E4}" destId="{E9528191-2490-454C-BD56-5935338890AD}" srcOrd="3" destOrd="0" presId="urn:microsoft.com/office/officeart/2005/8/layout/chevron1"/>
    <dgm:cxn modelId="{DFED71EE-33B7-47C5-965F-E16D5013EFB4}" type="presParOf" srcId="{79C4F9A6-D75A-4A51-A2A1-87956125C1E4}" destId="{932A6C5B-DB25-4C8E-9754-31B486C379AD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DE72CC-E4EB-4F36-A550-A36A3B427253}">
      <dsp:nvSpPr>
        <dsp:cNvPr id="0" name=""/>
        <dsp:cNvSpPr/>
      </dsp:nvSpPr>
      <dsp:spPr>
        <a:xfrm rot="5400000">
          <a:off x="-204942" y="206075"/>
          <a:ext cx="1366284" cy="95639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600" kern="1200" dirty="0"/>
        </a:p>
      </dsp:txBody>
      <dsp:txXfrm rot="-5400000">
        <a:off x="1" y="479333"/>
        <a:ext cx="956399" cy="409885"/>
      </dsp:txXfrm>
    </dsp:sp>
    <dsp:sp modelId="{476A7AFB-79CE-45BD-A932-DBD12D332970}">
      <dsp:nvSpPr>
        <dsp:cNvPr id="0" name=""/>
        <dsp:cNvSpPr/>
      </dsp:nvSpPr>
      <dsp:spPr>
        <a:xfrm rot="5400000">
          <a:off x="4469383" y="-3511851"/>
          <a:ext cx="888085" cy="7914053"/>
        </a:xfrm>
        <a:prstGeom prst="round2SameRect">
          <a:avLst/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 err="1" smtClean="0">
              <a:solidFill>
                <a:schemeClr val="tx2"/>
              </a:solidFill>
            </a:rPr>
            <a:t>Этапность</a:t>
          </a:r>
          <a:r>
            <a:rPr lang="ru-RU" sz="2000" kern="1200" dirty="0" smtClean="0">
              <a:solidFill>
                <a:schemeClr val="tx2"/>
              </a:solidFill>
            </a:rPr>
            <a:t> формирования и развития</a:t>
          </a:r>
          <a:endParaRPr lang="ru-RU" sz="2000" kern="1200" dirty="0">
            <a:solidFill>
              <a:schemeClr val="tx2"/>
            </a:solidFill>
          </a:endParaRPr>
        </a:p>
      </dsp:txBody>
      <dsp:txXfrm rot="-5400000">
        <a:off x="956400" y="44485"/>
        <a:ext cx="7870700" cy="801379"/>
      </dsp:txXfrm>
    </dsp:sp>
    <dsp:sp modelId="{503A7F52-2C75-4BA9-908A-A2C05C753D1C}">
      <dsp:nvSpPr>
        <dsp:cNvPr id="0" name=""/>
        <dsp:cNvSpPr/>
      </dsp:nvSpPr>
      <dsp:spPr>
        <a:xfrm rot="5400000">
          <a:off x="-204942" y="1374880"/>
          <a:ext cx="1366284" cy="95639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600" kern="1200" dirty="0"/>
        </a:p>
      </dsp:txBody>
      <dsp:txXfrm rot="-5400000">
        <a:off x="1" y="1648138"/>
        <a:ext cx="956399" cy="409885"/>
      </dsp:txXfrm>
    </dsp:sp>
    <dsp:sp modelId="{E870C7E5-58FD-411E-92F9-16F3EA545C14}">
      <dsp:nvSpPr>
        <dsp:cNvPr id="0" name=""/>
        <dsp:cNvSpPr/>
      </dsp:nvSpPr>
      <dsp:spPr>
        <a:xfrm rot="5400000">
          <a:off x="4469383" y="-2343046"/>
          <a:ext cx="888085" cy="7914053"/>
        </a:xfrm>
        <a:prstGeom prst="round2SameRect">
          <a:avLst/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 smtClean="0">
              <a:solidFill>
                <a:schemeClr val="tx2"/>
              </a:solidFill>
            </a:rPr>
            <a:t>Учет мирового опыта и использование результатов научной мысли</a:t>
          </a:r>
          <a:endParaRPr lang="ru-RU" sz="2000" kern="1200" dirty="0">
            <a:solidFill>
              <a:schemeClr val="tx2"/>
            </a:solidFill>
          </a:endParaRPr>
        </a:p>
      </dsp:txBody>
      <dsp:txXfrm rot="-5400000">
        <a:off x="956400" y="1213290"/>
        <a:ext cx="7870700" cy="801379"/>
      </dsp:txXfrm>
    </dsp:sp>
    <dsp:sp modelId="{61B0CCF2-361F-46A2-A5BC-29420186EC29}">
      <dsp:nvSpPr>
        <dsp:cNvPr id="0" name=""/>
        <dsp:cNvSpPr/>
      </dsp:nvSpPr>
      <dsp:spPr>
        <a:xfrm rot="5400000">
          <a:off x="-204942" y="2543686"/>
          <a:ext cx="1366284" cy="95639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600" kern="1200" dirty="0"/>
        </a:p>
      </dsp:txBody>
      <dsp:txXfrm rot="-5400000">
        <a:off x="1" y="2816944"/>
        <a:ext cx="956399" cy="409885"/>
      </dsp:txXfrm>
    </dsp:sp>
    <dsp:sp modelId="{FC353B86-56C3-4AFB-A392-0BD3FCEC131B}">
      <dsp:nvSpPr>
        <dsp:cNvPr id="0" name=""/>
        <dsp:cNvSpPr/>
      </dsp:nvSpPr>
      <dsp:spPr>
        <a:xfrm rot="5400000">
          <a:off x="4469383" y="-1174240"/>
          <a:ext cx="888085" cy="7914053"/>
        </a:xfrm>
        <a:prstGeom prst="round2SameRect">
          <a:avLst/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just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 smtClean="0">
              <a:solidFill>
                <a:schemeClr val="tx2"/>
              </a:solidFill>
            </a:rPr>
            <a:t>Коммерциализация результатов и возвратность инвестиций</a:t>
          </a:r>
          <a:endParaRPr lang="ru-RU" sz="2000" kern="1200" dirty="0">
            <a:solidFill>
              <a:schemeClr val="tx2"/>
            </a:solidFill>
          </a:endParaRPr>
        </a:p>
      </dsp:txBody>
      <dsp:txXfrm rot="-5400000">
        <a:off x="956400" y="2382096"/>
        <a:ext cx="7870700" cy="80137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8604" cy="464820"/>
          </a:xfrm>
          <a:prstGeom prst="rect">
            <a:avLst/>
          </a:prstGeom>
        </p:spPr>
        <p:txBody>
          <a:bodyPr vert="horz" lIns="92023" tIns="46011" rIns="92023" bIns="46011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159" y="1"/>
            <a:ext cx="3038604" cy="464820"/>
          </a:xfrm>
          <a:prstGeom prst="rect">
            <a:avLst/>
          </a:prstGeom>
        </p:spPr>
        <p:txBody>
          <a:bodyPr vert="horz" lIns="92023" tIns="46011" rIns="92023" bIns="46011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0E70067-9C57-4BC7-89B3-12ABD316B760}" type="datetimeFigureOut">
              <a:rPr lang="en-US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30086"/>
            <a:ext cx="3038604" cy="464820"/>
          </a:xfrm>
          <a:prstGeom prst="rect">
            <a:avLst/>
          </a:prstGeom>
        </p:spPr>
        <p:txBody>
          <a:bodyPr vert="horz" lIns="92023" tIns="46011" rIns="92023" bIns="46011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159" y="8830086"/>
            <a:ext cx="3038604" cy="464820"/>
          </a:xfrm>
          <a:prstGeom prst="rect">
            <a:avLst/>
          </a:prstGeom>
        </p:spPr>
        <p:txBody>
          <a:bodyPr vert="horz" lIns="92023" tIns="46011" rIns="92023" bIns="46011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23CE13C-0C1C-4B7F-B784-EC77407B555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311408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8604" cy="464820"/>
          </a:xfrm>
          <a:prstGeom prst="rect">
            <a:avLst/>
          </a:prstGeom>
        </p:spPr>
        <p:txBody>
          <a:bodyPr vert="horz" lIns="92023" tIns="46011" rIns="92023" bIns="46011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970159" y="1"/>
            <a:ext cx="3038604" cy="464820"/>
          </a:xfrm>
          <a:prstGeom prst="rect">
            <a:avLst/>
          </a:prstGeom>
        </p:spPr>
        <p:txBody>
          <a:bodyPr vert="horz" lIns="92023" tIns="46011" rIns="92023" bIns="46011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668AAAC-25C1-4404-ACB3-358A1195A465}" type="datetimeFigureOut">
              <a:rPr lang="ru-RU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79513" y="696913"/>
            <a:ext cx="4651375" cy="34877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023" tIns="46011" rIns="92023" bIns="46011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700715" y="4416540"/>
            <a:ext cx="5608975" cy="4181885"/>
          </a:xfrm>
          <a:prstGeom prst="rect">
            <a:avLst/>
          </a:prstGeom>
        </p:spPr>
        <p:txBody>
          <a:bodyPr vert="horz" lIns="92023" tIns="46011" rIns="92023" bIns="46011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830086"/>
            <a:ext cx="3038604" cy="464820"/>
          </a:xfrm>
          <a:prstGeom prst="rect">
            <a:avLst/>
          </a:prstGeom>
        </p:spPr>
        <p:txBody>
          <a:bodyPr vert="horz" lIns="92023" tIns="46011" rIns="92023" bIns="46011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970159" y="8830086"/>
            <a:ext cx="3038604" cy="464820"/>
          </a:xfrm>
          <a:prstGeom prst="rect">
            <a:avLst/>
          </a:prstGeom>
        </p:spPr>
        <p:txBody>
          <a:bodyPr vert="horz" lIns="92023" tIns="46011" rIns="92023" bIns="46011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91084E9-9F12-4827-AF60-11297661B19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917484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68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00356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Franklin Gothic Medium" pitchFamily="34" charset="0"/>
              </a:defRPr>
            </a:lvl1pPr>
            <a:lvl2pPr marL="742821" indent="-285701">
              <a:defRPr>
                <a:solidFill>
                  <a:schemeClr val="tx1"/>
                </a:solidFill>
                <a:latin typeface="Franklin Gothic Medium" pitchFamily="34" charset="0"/>
              </a:defRPr>
            </a:lvl2pPr>
            <a:lvl3pPr marL="1142801" indent="-228561">
              <a:defRPr>
                <a:solidFill>
                  <a:schemeClr val="tx1"/>
                </a:solidFill>
                <a:latin typeface="Franklin Gothic Medium" pitchFamily="34" charset="0"/>
              </a:defRPr>
            </a:lvl3pPr>
            <a:lvl4pPr marL="1599921" indent="-228561">
              <a:defRPr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042" indent="-228561">
              <a:defRPr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162" indent="-228561" defTabSz="45712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282" indent="-228561" defTabSz="45712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</a:defRPr>
            </a:lvl7pPr>
            <a:lvl8pPr marL="3428402" indent="-228561" defTabSz="45712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</a:defRPr>
            </a:lvl8pPr>
            <a:lvl9pPr marL="3885522" indent="-228561" defTabSz="45712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EFD50AC-5603-421A-AEC9-24B1CE685B30}" type="slidenum">
              <a:rPr lang="ru-RU" altLang="ru-RU" smtClean="0"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ru-RU" altLang="ru-RU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2123AF2-1891-4143-B7BD-B33B1E484E89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3119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1F2CB7-9943-454B-8D21-DAD7AA379EDF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35120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1F2CB7-9943-454B-8D21-DAD7AA379EDF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2914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1F2CB7-9943-454B-8D21-DAD7AA379EDF}" type="slidenum">
              <a:rPr lang="ru-RU" smtClean="0">
                <a:solidFill>
                  <a:prstClr val="black"/>
                </a:solidFill>
              </a:rPr>
              <a:pPr/>
              <a:t>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2914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2123AF2-1891-4143-B7BD-B33B1E484E89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18801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499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just">
              <a:spcBef>
                <a:spcPct val="0"/>
              </a:spcBef>
            </a:pPr>
            <a:r>
              <a:rPr lang="ru-RU" altLang="ru-RU" sz="1000" b="1" smtClean="0">
                <a:latin typeface="Arial" pitchFamily="34" charset="0"/>
                <a:cs typeface="Arial" pitchFamily="34" charset="0"/>
              </a:rPr>
              <a:t>Реализация стратегии развития ФИЦ предполагает эволюцию Проекта на протяжении трех этапов:</a:t>
            </a:r>
          </a:p>
          <a:p>
            <a:pPr algn="just">
              <a:spcBef>
                <a:spcPct val="0"/>
              </a:spcBef>
            </a:pPr>
            <a:endParaRPr lang="ru-RU" altLang="ru-RU" sz="1000" b="1" smtClean="0">
              <a:latin typeface="Arial" pitchFamily="34" charset="0"/>
              <a:cs typeface="Arial" pitchFamily="34" charset="0"/>
            </a:endParaRPr>
          </a:p>
          <a:p>
            <a:pPr algn="just">
              <a:spcBef>
                <a:spcPct val="0"/>
              </a:spcBef>
            </a:pPr>
            <a:r>
              <a:rPr lang="ru-RU" altLang="ru-RU" sz="1000" b="1" smtClean="0">
                <a:latin typeface="Arial" pitchFamily="34" charset="0"/>
                <a:cs typeface="Arial" pitchFamily="34" charset="0"/>
              </a:rPr>
              <a:t>1) Этап 2018-2021 гг.</a:t>
            </a:r>
            <a:r>
              <a:rPr lang="en-US" altLang="ru-RU" sz="1000" b="1" smtClean="0">
                <a:latin typeface="Arial" pitchFamily="34" charset="0"/>
                <a:cs typeface="Arial" pitchFamily="34" charset="0"/>
              </a:rPr>
              <a:t> (</a:t>
            </a:r>
            <a:r>
              <a:rPr lang="ru-RU" altLang="ru-RU" sz="1000" b="1" smtClean="0">
                <a:latin typeface="Arial" pitchFamily="34" charset="0"/>
                <a:cs typeface="Arial" pitchFamily="34" charset="0"/>
              </a:rPr>
              <a:t>краткосрочная стратегия)</a:t>
            </a:r>
          </a:p>
          <a:p>
            <a:pPr algn="just">
              <a:spcBef>
                <a:spcPct val="0"/>
              </a:spcBef>
            </a:pPr>
            <a:r>
              <a:rPr lang="ru-RU" altLang="ru-RU" sz="1000" smtClean="0">
                <a:latin typeface="Arial" pitchFamily="34" charset="0"/>
                <a:cs typeface="Arial" pitchFamily="34" charset="0"/>
              </a:rPr>
              <a:t>   - Удовлетворение спроса на испытания электротехнического оборудования на российском рынке за счет существующих потребностей ОАО «Россети»</a:t>
            </a:r>
          </a:p>
          <a:p>
            <a:pPr algn="just">
              <a:spcBef>
                <a:spcPct val="0"/>
              </a:spcBef>
            </a:pPr>
            <a:r>
              <a:rPr lang="ru-RU" altLang="ru-RU" sz="1000" smtClean="0">
                <a:latin typeface="Arial" pitchFamily="34" charset="0"/>
                <a:cs typeface="Arial" pitchFamily="34" charset="0"/>
              </a:rPr>
              <a:t>   - Развитие новых компетенций по неосуществляемым в РФ испытаниям</a:t>
            </a:r>
          </a:p>
          <a:p>
            <a:pPr algn="just">
              <a:spcBef>
                <a:spcPct val="0"/>
              </a:spcBef>
            </a:pPr>
            <a:r>
              <a:rPr lang="ru-RU" altLang="ru-RU" sz="1000" smtClean="0">
                <a:latin typeface="Arial" pitchFamily="34" charset="0"/>
                <a:cs typeface="Arial" pitchFamily="34" charset="0"/>
              </a:rPr>
              <a:t>   - Финансирование за счет собственных и заемных средств, отдельные формы государственной поддержки</a:t>
            </a:r>
          </a:p>
          <a:p>
            <a:pPr algn="just">
              <a:spcBef>
                <a:spcPct val="0"/>
              </a:spcBef>
            </a:pPr>
            <a:endParaRPr lang="ru-RU" altLang="ru-RU" sz="1000" b="1" i="1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spcBef>
                <a:spcPct val="0"/>
              </a:spcBef>
            </a:pPr>
            <a:r>
              <a:rPr lang="en-US" altLang="ru-RU" sz="1000" b="1" smtClean="0">
                <a:latin typeface="Arial" pitchFamily="34" charset="0"/>
                <a:cs typeface="Arial" pitchFamily="34" charset="0"/>
              </a:rPr>
              <a:t>2) </a:t>
            </a:r>
            <a:r>
              <a:rPr lang="ru-RU" altLang="ru-RU" sz="1000" b="1" smtClean="0">
                <a:latin typeface="Arial" pitchFamily="34" charset="0"/>
                <a:cs typeface="Arial" pitchFamily="34" charset="0"/>
              </a:rPr>
              <a:t>Этап 2021-2025 гг. (среднесрочная стратегия)</a:t>
            </a:r>
          </a:p>
          <a:p>
            <a:pPr>
              <a:spcBef>
                <a:spcPct val="0"/>
              </a:spcBef>
            </a:pPr>
            <a:r>
              <a:rPr lang="ru-RU" altLang="ru-RU" sz="1000" smtClean="0">
                <a:latin typeface="Arial" pitchFamily="34" charset="0"/>
                <a:cs typeface="Arial" pitchFamily="34" charset="0"/>
              </a:rPr>
              <a:t>    - При поддержке Правительства РФ, ФОИВ разработка концепции создания национального испытательного кластера на базе ОАО «ФИЦ» </a:t>
            </a:r>
            <a:br>
              <a:rPr lang="ru-RU" altLang="ru-RU" sz="1000" smtClean="0">
                <a:latin typeface="Arial" pitchFamily="34" charset="0"/>
                <a:cs typeface="Arial" pitchFamily="34" charset="0"/>
              </a:rPr>
            </a:br>
            <a:r>
              <a:rPr lang="ru-RU" altLang="ru-RU" sz="1000" smtClean="0">
                <a:latin typeface="Arial" pitchFamily="34" charset="0"/>
                <a:cs typeface="Arial" pitchFamily="34" charset="0"/>
              </a:rPr>
              <a:t>    - Расширение участников Проекта за счет производителей оборудования, а также крупнейших компаний ТЭК </a:t>
            </a:r>
          </a:p>
          <a:p>
            <a:pPr algn="just">
              <a:spcBef>
                <a:spcPct val="0"/>
              </a:spcBef>
            </a:pPr>
            <a:r>
              <a:rPr lang="ru-RU" altLang="ru-RU" sz="1000" smtClean="0">
                <a:latin typeface="Arial" pitchFamily="34" charset="0"/>
                <a:cs typeface="Arial" pitchFamily="34" charset="0"/>
              </a:rPr>
              <a:t>    - Получение государственного финансирования для развития Проекта</a:t>
            </a:r>
          </a:p>
          <a:p>
            <a:pPr algn="just">
              <a:spcBef>
                <a:spcPct val="0"/>
              </a:spcBef>
            </a:pPr>
            <a:r>
              <a:rPr lang="ru-RU" altLang="ru-RU" sz="1000" b="1" smtClean="0">
                <a:latin typeface="Arial" pitchFamily="34" charset="0"/>
                <a:cs typeface="Arial" pitchFamily="34" charset="0"/>
              </a:rPr>
              <a:t>3) Этап 2025-2030 (долгосрочная стратегия)</a:t>
            </a:r>
          </a:p>
          <a:p>
            <a:pPr algn="just">
              <a:spcBef>
                <a:spcPct val="0"/>
              </a:spcBef>
            </a:pPr>
            <a:r>
              <a:rPr lang="ru-RU" altLang="ru-RU" sz="1000" b="1" smtClean="0">
                <a:latin typeface="Arial" pitchFamily="34" charset="0"/>
                <a:cs typeface="Arial" pitchFamily="34" charset="0"/>
              </a:rPr>
              <a:t>     - </a:t>
            </a:r>
            <a:r>
              <a:rPr lang="ru-RU" altLang="ru-RU" sz="1000" smtClean="0">
                <a:latin typeface="Arial" pitchFamily="34" charset="0"/>
                <a:cs typeface="Arial" pitchFamily="34" charset="0"/>
              </a:rPr>
              <a:t>Выход на параметры  международных центров</a:t>
            </a:r>
          </a:p>
          <a:p>
            <a:pPr algn="just">
              <a:spcBef>
                <a:spcPct val="0"/>
              </a:spcBef>
            </a:pPr>
            <a:r>
              <a:rPr lang="ru-RU" altLang="ru-RU" sz="1000" smtClean="0">
                <a:latin typeface="Arial" pitchFamily="34" charset="0"/>
                <a:cs typeface="Arial" pitchFamily="34" charset="0"/>
              </a:rPr>
              <a:t>    - Вступление в ассоциацию </a:t>
            </a:r>
            <a:r>
              <a:rPr lang="en-US" altLang="ru-RU" sz="1000" smtClean="0">
                <a:latin typeface="Arial" pitchFamily="34" charset="0"/>
                <a:cs typeface="Arial" pitchFamily="34" charset="0"/>
              </a:rPr>
              <a:t>STL</a:t>
            </a:r>
            <a:r>
              <a:rPr lang="ru-RU" altLang="ru-RU" sz="1000" smtClean="0">
                <a:latin typeface="Arial" pitchFamily="34" charset="0"/>
                <a:cs typeface="Arial" pitchFamily="34" charset="0"/>
              </a:rPr>
              <a:t> (с англ. </a:t>
            </a:r>
            <a:r>
              <a:rPr lang="en-US" altLang="ru-RU" sz="1000" smtClean="0">
                <a:latin typeface="Arial" pitchFamily="34" charset="0"/>
                <a:cs typeface="Arial" pitchFamily="34" charset="0"/>
              </a:rPr>
              <a:t>Short-Circuit Testing Liaison</a:t>
            </a:r>
            <a:r>
              <a:rPr lang="ru-RU" altLang="ru-RU" sz="1000" smtClean="0">
                <a:latin typeface="Arial" pitchFamily="34" charset="0"/>
                <a:cs typeface="Arial" pitchFamily="34" charset="0"/>
              </a:rPr>
              <a:t>) </a:t>
            </a:r>
          </a:p>
          <a:p>
            <a:pPr algn="just">
              <a:spcBef>
                <a:spcPct val="0"/>
              </a:spcBef>
            </a:pPr>
            <a:r>
              <a:rPr lang="ru-RU" altLang="ru-RU" sz="1000" smtClean="0">
                <a:latin typeface="Arial" pitchFamily="34" charset="0"/>
                <a:cs typeface="Arial" pitchFamily="34" charset="0"/>
              </a:rPr>
              <a:t>    - Максимальный состав испытательного оборудования </a:t>
            </a:r>
          </a:p>
          <a:p>
            <a:pPr algn="just">
              <a:spcBef>
                <a:spcPct val="0"/>
              </a:spcBef>
            </a:pPr>
            <a:r>
              <a:rPr lang="ru-RU" altLang="ru-RU" sz="1000" smtClean="0">
                <a:latin typeface="Arial" pitchFamily="34" charset="0"/>
                <a:cs typeface="Arial" pitchFamily="34" charset="0"/>
              </a:rPr>
              <a:t>    - Перемещение заказов с перегруженных европейских центров</a:t>
            </a:r>
          </a:p>
          <a:p>
            <a:pPr algn="just">
              <a:spcBef>
                <a:spcPct val="0"/>
              </a:spcBef>
            </a:pPr>
            <a:r>
              <a:rPr lang="ru-RU" altLang="ru-RU" sz="1000" smtClean="0">
                <a:latin typeface="Arial" pitchFamily="34" charset="0"/>
                <a:cs typeface="Arial" pitchFamily="34" charset="0"/>
              </a:rPr>
              <a:t>Необходимо отметить, что на первом этапе ОАО «Россети» выступает инициатором создания ФИЦ. Дальнейшее развитие Проекта предполагает расширение круга участников Проекта, а также получение государственного финансирования и поддержки. </a:t>
            </a:r>
          </a:p>
          <a:p>
            <a:pPr algn="just">
              <a:spcBef>
                <a:spcPct val="0"/>
              </a:spcBef>
            </a:pPr>
            <a:r>
              <a:rPr lang="ru-RU" altLang="ru-RU" sz="1000" b="1" smtClean="0">
                <a:latin typeface="Arial" pitchFamily="34" charset="0"/>
                <a:cs typeface="Arial" pitchFamily="34" charset="0"/>
              </a:rPr>
              <a:t>С учетом привлечения в проект международного технологического партнера </a:t>
            </a:r>
            <a:r>
              <a:rPr lang="en-US" altLang="ru-RU" sz="1000" b="1" smtClean="0">
                <a:latin typeface="Arial" pitchFamily="34" charset="0"/>
                <a:cs typeface="Arial" pitchFamily="34" charset="0"/>
              </a:rPr>
              <a:t>CESI </a:t>
            </a:r>
            <a:r>
              <a:rPr lang="ru-RU" altLang="ru-RU" sz="1000" b="1" smtClean="0">
                <a:latin typeface="Arial" pitchFamily="34" charset="0"/>
                <a:cs typeface="Arial" pitchFamily="34" charset="0"/>
              </a:rPr>
              <a:t>вступление в ассоциацию </a:t>
            </a:r>
            <a:r>
              <a:rPr lang="en-US" altLang="ru-RU" sz="1000" b="1" smtClean="0">
                <a:latin typeface="Arial" pitchFamily="34" charset="0"/>
                <a:cs typeface="Arial" pitchFamily="34" charset="0"/>
              </a:rPr>
              <a:t>STL </a:t>
            </a:r>
            <a:r>
              <a:rPr lang="ru-RU" altLang="ru-RU" sz="1000" b="1" smtClean="0">
                <a:latin typeface="Arial" pitchFamily="34" charset="0"/>
                <a:cs typeface="Arial" pitchFamily="34" charset="0"/>
              </a:rPr>
              <a:t>возможно в конце второго этапа развития ФИЦ – 2021 год. </a:t>
            </a:r>
          </a:p>
          <a:p>
            <a:endParaRPr lang="ru-RU" altLang="ru-RU" sz="1000" b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D280406-0284-4789-96BB-4C2EF97240C4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45563" y="3528216"/>
            <a:ext cx="8229600" cy="966047"/>
          </a:xfrm>
          <a:prstGeom prst="rect">
            <a:avLst/>
          </a:prstGeom>
        </p:spPr>
        <p:txBody>
          <a:bodyPr anchor="ctr"/>
          <a:lstStyle>
            <a:lvl1pPr algn="ctr">
              <a:defRPr lang="en-US" sz="2400" b="1" i="0" kern="1200" dirty="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45563" y="4791988"/>
            <a:ext cx="8229600" cy="97087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100" kern="1200" dirty="0" smtClean="0">
                <a:solidFill>
                  <a:schemeClr val="bg1"/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1pPr>
            <a:lvl2pPr>
              <a:defRPr lang="en-US" sz="1800" kern="1200" dirty="0" smtClean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2pPr>
            <a:lvl3pPr>
              <a:defRPr lang="en-US" sz="1800" kern="1200" dirty="0" smtClean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3pPr>
            <a:lvl4pPr>
              <a:defRPr lang="en-US" sz="1800" kern="1200" dirty="0" smtClean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4pPr>
            <a:lvl5pPr>
              <a:defRPr lang="en-US" sz="1800" kern="1200" dirty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345563" y="5766948"/>
            <a:ext cx="8229600" cy="97087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900" kern="1200" dirty="0" smtClean="0">
                <a:solidFill>
                  <a:schemeClr val="bg1"/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1pPr>
            <a:lvl2pPr>
              <a:defRPr lang="en-US" sz="1800" kern="1200" dirty="0" smtClean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2pPr>
            <a:lvl3pPr>
              <a:defRPr lang="en-US" sz="1800" kern="1200" dirty="0" smtClean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3pPr>
            <a:lvl4pPr>
              <a:defRPr lang="en-US" sz="1800" kern="1200" dirty="0" smtClean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4pPr>
            <a:lvl5pPr>
              <a:defRPr lang="en-US" sz="1800" kern="1200" dirty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57007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0981" tIns="45480" rIns="90981" bIns="45480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1CB13C14-8BA6-4A28-820B-E9FC94C3DC0F}" type="datetime1">
              <a:rPr lang="ru-RU" smtClean="0"/>
              <a:t>26.05.2015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2157118B-DD55-4ECE-91DA-0DC5D25AB8E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605285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01" tIns="45488" rIns="91001" bIns="4548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059895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44" y="9171"/>
            <a:ext cx="7141569" cy="900469"/>
          </a:xfrm>
          <a:prstGeom prst="rect">
            <a:avLst/>
          </a:prstGeom>
        </p:spPr>
        <p:txBody>
          <a:bodyPr lIns="91001" tIns="45488" rIns="91001" bIns="45488">
            <a:normAutofit/>
          </a:bodyPr>
          <a:lstStyle>
            <a:lvl1pPr marL="9162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01" tIns="45488" rIns="91001" bIns="4548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4ACA00D5-2651-43AF-B7BA-50B1A9967A9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927334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01" tIns="45488" rIns="91001" bIns="45488" anchor="ctr"/>
          <a:lstStyle/>
          <a:p>
            <a:pPr algn="ctr" defTabSz="909944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60"/>
            <a:ext cx="7772400" cy="1214896"/>
          </a:xfrm>
          <a:prstGeom prst="rect">
            <a:avLst/>
          </a:prstGeom>
        </p:spPr>
        <p:txBody>
          <a:bodyPr lIns="91001" tIns="45488" rIns="91001" bIns="4548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574290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555" tIns="40776" rIns="81555" bIns="40776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1468926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01" tIns="45488" rIns="91001" bIns="4548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713353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44" y="9171"/>
            <a:ext cx="7141569" cy="900469"/>
          </a:xfrm>
          <a:prstGeom prst="rect">
            <a:avLst/>
          </a:prstGeom>
        </p:spPr>
        <p:txBody>
          <a:bodyPr lIns="91001" tIns="45488" rIns="91001" bIns="45488">
            <a:normAutofit/>
          </a:bodyPr>
          <a:lstStyle>
            <a:lvl1pPr marL="9162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01" tIns="45488" rIns="91001" bIns="4548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406180C1-2BC7-43A5-A9D0-E7E03F39045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480359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01" tIns="45488" rIns="91001" bIns="45488" anchor="ctr"/>
          <a:lstStyle/>
          <a:p>
            <a:pPr algn="ctr" defTabSz="909944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60"/>
            <a:ext cx="7772400" cy="1214896"/>
          </a:xfrm>
          <a:prstGeom prst="rect">
            <a:avLst/>
          </a:prstGeom>
        </p:spPr>
        <p:txBody>
          <a:bodyPr lIns="91001" tIns="45488" rIns="91001" bIns="4548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225176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555" tIns="40776" rIns="81555" bIns="40776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409235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01" tIns="45488" rIns="91001" bIns="4548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899836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44" y="9171"/>
            <a:ext cx="7141569" cy="900469"/>
          </a:xfrm>
          <a:prstGeom prst="rect">
            <a:avLst/>
          </a:prstGeom>
        </p:spPr>
        <p:txBody>
          <a:bodyPr lIns="91001" tIns="45488" rIns="91001" bIns="45488">
            <a:normAutofit/>
          </a:bodyPr>
          <a:lstStyle>
            <a:lvl1pPr marL="9162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01" tIns="45488" rIns="91001" bIns="4548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37BD1A88-4CBD-41C6-B5A2-259F2FC4E19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43099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26" y="609320"/>
            <a:ext cx="7772977" cy="1143000"/>
          </a:xfrm>
          <a:prstGeom prst="rect">
            <a:avLst/>
          </a:prstGeom>
        </p:spPr>
        <p:txBody>
          <a:bodyPr lIns="81947" tIns="40971" rIns="81947" bIns="40971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976893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01" tIns="45488" rIns="91001" bIns="45488" anchor="ctr"/>
          <a:lstStyle/>
          <a:p>
            <a:pPr algn="ctr" defTabSz="909944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60"/>
            <a:ext cx="7772400" cy="1214896"/>
          </a:xfrm>
          <a:prstGeom prst="rect">
            <a:avLst/>
          </a:prstGeom>
        </p:spPr>
        <p:txBody>
          <a:bodyPr lIns="91001" tIns="45488" rIns="91001" bIns="4548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75938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555" tIns="40776" rIns="81555" bIns="40776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547122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01" tIns="45488" rIns="91001" bIns="4548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051037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44" y="9171"/>
            <a:ext cx="7141569" cy="900469"/>
          </a:xfrm>
          <a:prstGeom prst="rect">
            <a:avLst/>
          </a:prstGeom>
        </p:spPr>
        <p:txBody>
          <a:bodyPr lIns="91001" tIns="45488" rIns="91001" bIns="45488">
            <a:normAutofit/>
          </a:bodyPr>
          <a:lstStyle>
            <a:lvl1pPr marL="9162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01" tIns="45488" rIns="91001" bIns="4548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EAADF3BD-B4AF-4AC3-B5ED-43CE8878393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557120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01" tIns="45488" rIns="91001" bIns="45488" anchor="ctr"/>
          <a:lstStyle/>
          <a:p>
            <a:pPr algn="ctr" defTabSz="909944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60"/>
            <a:ext cx="7772400" cy="1214896"/>
          </a:xfrm>
          <a:prstGeom prst="rect">
            <a:avLst/>
          </a:prstGeom>
        </p:spPr>
        <p:txBody>
          <a:bodyPr lIns="91001" tIns="45488" rIns="91001" bIns="4548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168302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555" tIns="40776" rIns="81555" bIns="40776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3122783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052771"/>
            <a:ext cx="4038600" cy="5073427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052771"/>
            <a:ext cx="4038600" cy="5073427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044" tIns="45512" rIns="91044" bIns="45512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025AA8-F339-47C4-991D-462EC997B089}" type="datetime1">
              <a:rPr lang="ru-RU" smtClean="0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A59D97-2FB4-4A8E-B409-F28110B35DA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814219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052758"/>
            <a:ext cx="4040188" cy="72008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5196" indent="0">
              <a:buNone/>
              <a:defRPr sz="2000" b="1"/>
            </a:lvl2pPr>
            <a:lvl3pPr marL="910406" indent="0">
              <a:buNone/>
              <a:defRPr sz="1800" b="1"/>
            </a:lvl3pPr>
            <a:lvl4pPr marL="1365608" indent="0">
              <a:buNone/>
              <a:defRPr sz="1600" b="1"/>
            </a:lvl4pPr>
            <a:lvl5pPr marL="1820812" indent="0">
              <a:buNone/>
              <a:defRPr sz="1600" b="1"/>
            </a:lvl5pPr>
            <a:lvl6pPr marL="2276011" indent="0">
              <a:buNone/>
              <a:defRPr sz="1600" b="1"/>
            </a:lvl6pPr>
            <a:lvl7pPr marL="2731217" indent="0">
              <a:buNone/>
              <a:defRPr sz="1600" b="1"/>
            </a:lvl7pPr>
            <a:lvl8pPr marL="3186419" indent="0">
              <a:buNone/>
              <a:defRPr sz="1600" b="1"/>
            </a:lvl8pPr>
            <a:lvl9pPr marL="364162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1" y="1916849"/>
            <a:ext cx="4040188" cy="4209331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4076" y="1052758"/>
            <a:ext cx="4041775" cy="72008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5196" indent="0">
              <a:buNone/>
              <a:defRPr sz="2000" b="1"/>
            </a:lvl2pPr>
            <a:lvl3pPr marL="910406" indent="0">
              <a:buNone/>
              <a:defRPr sz="1800" b="1"/>
            </a:lvl3pPr>
            <a:lvl4pPr marL="1365608" indent="0">
              <a:buNone/>
              <a:defRPr sz="1600" b="1"/>
            </a:lvl4pPr>
            <a:lvl5pPr marL="1820812" indent="0">
              <a:buNone/>
              <a:defRPr sz="1600" b="1"/>
            </a:lvl5pPr>
            <a:lvl6pPr marL="2276011" indent="0">
              <a:buNone/>
              <a:defRPr sz="1600" b="1"/>
            </a:lvl6pPr>
            <a:lvl7pPr marL="2731217" indent="0">
              <a:buNone/>
              <a:defRPr sz="1600" b="1"/>
            </a:lvl7pPr>
            <a:lvl8pPr marL="3186419" indent="0">
              <a:buNone/>
              <a:defRPr sz="1600" b="1"/>
            </a:lvl8pPr>
            <a:lvl9pPr marL="364162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95" y="1916849"/>
            <a:ext cx="4041775" cy="4209331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044" tIns="45512" rIns="91044" bIns="45512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36C1D1-03E5-400E-9EFB-BC2896D7BBA9}" type="datetime1">
              <a:rPr lang="ru-RU" smtClean="0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4AE967-A981-41D8-B1BF-1A604A94067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973088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044" tIns="45512" rIns="91044" bIns="45512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3EE0FF-1BFF-4ADE-91C9-A6976D6B6857}" type="datetime1">
              <a:rPr lang="ru-RU" smtClean="0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94271A-0910-4F93-81C6-713954798DF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511642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124775"/>
            <a:ext cx="8229600" cy="500141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044" tIns="45512" rIns="91044" bIns="45512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EEE45A-DA64-427C-8170-9F8ACA93D8CA}" type="datetime1">
              <a:rPr lang="ru-RU" smtClean="0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308A98-EAA7-42AC-8E3B-3E4E7EC4FF5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05748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555" tIns="40776" rIns="81555" bIns="40776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3289449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395536" y="825399"/>
            <a:ext cx="8271186" cy="490786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131763" y="6356350"/>
            <a:ext cx="2133600" cy="365125"/>
          </a:xfrm>
          <a:prstGeom prst="rect">
            <a:avLst/>
          </a:prstGeom>
        </p:spPr>
        <p:txBody>
          <a:bodyPr lIns="90501" tIns="45246" rIns="90501" bIns="45246" anchor="ctr"/>
          <a:lstStyle>
            <a:lvl1pPr algn="l">
              <a:defRPr/>
            </a:lvl1pPr>
          </a:lstStyle>
          <a:p>
            <a:pPr defTabSz="904904">
              <a:defRPr/>
            </a:pPr>
            <a:endParaRPr lang="en-US" sz="1200" dirty="0" smtClean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Прямоугольник с одним скругленным углом 4"/>
          <p:cNvSpPr/>
          <p:nvPr userDrawn="1"/>
        </p:nvSpPr>
        <p:spPr bwMode="auto">
          <a:xfrm rot="10800000" flipH="1">
            <a:off x="0" y="-1588"/>
            <a:ext cx="8675688" cy="555626"/>
          </a:xfrm>
          <a:prstGeom prst="round1Rect">
            <a:avLst>
              <a:gd name="adj" fmla="val 50000"/>
            </a:avLst>
          </a:prstGeom>
          <a:gradFill>
            <a:gsLst>
              <a:gs pos="0">
                <a:srgbClr val="1D4576">
                  <a:alpha val="85000"/>
                </a:srgbClr>
              </a:gs>
              <a:gs pos="100000">
                <a:srgbClr val="0066CC">
                  <a:alpha val="75000"/>
                </a:srgbClr>
              </a:gs>
            </a:gsLst>
            <a:lin ang="16200000" scaled="1"/>
          </a:gradFill>
          <a:ln>
            <a:noFill/>
          </a:ln>
          <a:effectLst/>
        </p:spPr>
        <p:txBody>
          <a:bodyPr lIns="85238" tIns="42625" rIns="85238" bIns="42625"/>
          <a:lstStyle/>
          <a:p>
            <a:pPr defTabSz="852232" eaLnBrk="0" hangingPunct="0">
              <a:defRPr/>
            </a:pPr>
            <a:endParaRPr lang="ru-RU" sz="2300" dirty="0">
              <a:solidFill>
                <a:prstClr val="black"/>
              </a:solidFill>
              <a:latin typeface="Times" pitchFamily="18" charset="0"/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-540" y="-1470"/>
            <a:ext cx="8172946" cy="556164"/>
          </a:xfrm>
          <a:prstGeom prst="rect">
            <a:avLst/>
          </a:prstGeom>
        </p:spPr>
        <p:txBody>
          <a:bodyPr lIns="91052" tIns="45515" rIns="91052" bIns="45515"/>
          <a:lstStyle>
            <a:lvl1pPr>
              <a:lnSpc>
                <a:spcPct val="80000"/>
              </a:lnSpc>
              <a:defRPr sz="2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470900" y="6356350"/>
            <a:ext cx="43973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536F12-7A6E-424F-9CD5-6729AC9B912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751892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58" tIns="45518" rIns="91058" bIns="4551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4556580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56" y="9161"/>
            <a:ext cx="7141569" cy="900469"/>
          </a:xfrm>
          <a:prstGeom prst="rect">
            <a:avLst/>
          </a:prstGeom>
        </p:spPr>
        <p:txBody>
          <a:bodyPr lIns="91058" tIns="45518" rIns="91058" bIns="45518">
            <a:normAutofit/>
          </a:bodyPr>
          <a:lstStyle>
            <a:lvl1pPr marL="91682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58" tIns="45518" rIns="91058" bIns="4551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0EAAC458-3B97-4527-B472-4962C96CD5C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85300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58" tIns="45518" rIns="91058" bIns="45518" anchor="ctr"/>
          <a:lstStyle/>
          <a:p>
            <a:pPr algn="ctr" defTabSz="910523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55"/>
            <a:ext cx="7772400" cy="1214896"/>
          </a:xfrm>
          <a:prstGeom prst="rect">
            <a:avLst/>
          </a:prstGeom>
        </p:spPr>
        <p:txBody>
          <a:bodyPr lIns="91058" tIns="45518" rIns="91058" bIns="4551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069484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607" tIns="40802" rIns="81607" bIns="40802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5590324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58" tIns="45518" rIns="91058" bIns="4551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532953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56" y="9161"/>
            <a:ext cx="7141569" cy="900469"/>
          </a:xfrm>
          <a:prstGeom prst="rect">
            <a:avLst/>
          </a:prstGeom>
        </p:spPr>
        <p:txBody>
          <a:bodyPr lIns="91058" tIns="45518" rIns="91058" bIns="45518">
            <a:normAutofit/>
          </a:bodyPr>
          <a:lstStyle>
            <a:lvl1pPr marL="91682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58" tIns="45518" rIns="91058" bIns="4551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7BB2965E-67C7-41BA-B180-820FE7415CF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577240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58" tIns="45518" rIns="91058" bIns="45518" anchor="ctr"/>
          <a:lstStyle/>
          <a:p>
            <a:pPr algn="ctr" defTabSz="910523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55"/>
            <a:ext cx="7772400" cy="1214896"/>
          </a:xfrm>
          <a:prstGeom prst="rect">
            <a:avLst/>
          </a:prstGeom>
        </p:spPr>
        <p:txBody>
          <a:bodyPr lIns="91058" tIns="45518" rIns="91058" bIns="4551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469909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150813" y="17463"/>
            <a:ext cx="1704975" cy="1293812"/>
          </a:xfrm>
          <a:prstGeom prst="rect">
            <a:avLst/>
          </a:prstGeom>
          <a:solidFill>
            <a:srgbClr val="252A5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04850" y="274638"/>
            <a:ext cx="7981950" cy="1143000"/>
          </a:xfrm>
          <a:prstGeom prst="rect">
            <a:avLst/>
          </a:prstGeom>
        </p:spPr>
        <p:txBody>
          <a:bodyPr anchor="ctr"/>
          <a:lstStyle>
            <a:lvl1pPr>
              <a:defRPr lang="en-US" sz="2400" b="1" i="0" kern="1200" dirty="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382000" y="808038"/>
            <a:ext cx="762000" cy="503237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pPr>
              <a:defRPr/>
            </a:pPr>
            <a:fld id="{C7E2ABA8-A9E8-4A0C-ADFD-57B3C2B38241}" type="slidenum">
              <a:rPr lang="ru-RU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367566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26" y="609320"/>
            <a:ext cx="7772977" cy="1143000"/>
          </a:xfrm>
          <a:prstGeom prst="rect">
            <a:avLst/>
          </a:prstGeom>
        </p:spPr>
        <p:txBody>
          <a:bodyPr lIns="81947" tIns="40971" rIns="81947" bIns="40971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21141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607" tIns="40802" rIns="81607" bIns="40802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4690620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  <a:prstGeom prst="rect">
            <a:avLst/>
          </a:prstGeom>
        </p:spPr>
        <p:txBody>
          <a:bodyPr lIns="91428" tIns="45714" rIns="91428" bIns="45714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9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972041-8EF8-4209-B436-76F8525AAF29}" type="datetime1">
              <a:rPr lang="ru-RU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E6EE09-9FF3-4E4C-AAC6-007D1E3AA98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689192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428" tIns="45714" rIns="91428" bIns="45714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124762"/>
            <a:ext cx="8229600" cy="50014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0504A7-A7C3-4AD9-B030-DC6B24659F86}" type="datetime1">
              <a:rPr lang="ru-RU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B30049-E612-47F7-AEC4-8B3D3F615C0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704632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  <a:prstGeom prst="rect">
            <a:avLst/>
          </a:prstGeom>
        </p:spPr>
        <p:txBody>
          <a:bodyPr lIns="91428" tIns="45714" rIns="91428" bIns="45714"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4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2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6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4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9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3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81F7F7-9BC7-4A6A-8665-76BA190E7C2D}" type="datetime1">
              <a:rPr lang="ru-RU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CC05B2-BEA6-494F-8CE6-7F0A8B25EAF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380051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052758"/>
            <a:ext cx="4038600" cy="507342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052758"/>
            <a:ext cx="4038600" cy="507342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428" tIns="45714" rIns="91428" bIns="45714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049407-59B8-46EE-B827-198EBB9E1268}" type="datetime1">
              <a:rPr lang="ru-RU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EE575D-7181-4D55-B511-B90EB4E1CD9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684027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052750"/>
            <a:ext cx="4040188" cy="72008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1" indent="0">
              <a:buNone/>
              <a:defRPr sz="2000" b="1"/>
            </a:lvl2pPr>
            <a:lvl3pPr marL="914282" indent="0">
              <a:buNone/>
              <a:defRPr sz="1800" b="1"/>
            </a:lvl3pPr>
            <a:lvl4pPr marL="1371424" indent="0">
              <a:buNone/>
              <a:defRPr sz="1600" b="1"/>
            </a:lvl4pPr>
            <a:lvl5pPr marL="1828565" indent="0">
              <a:buNone/>
              <a:defRPr sz="1600" b="1"/>
            </a:lvl5pPr>
            <a:lvl6pPr marL="2285706" indent="0">
              <a:buNone/>
              <a:defRPr sz="1600" b="1"/>
            </a:lvl6pPr>
            <a:lvl7pPr marL="2742848" indent="0">
              <a:buNone/>
              <a:defRPr sz="1600" b="1"/>
            </a:lvl7pPr>
            <a:lvl8pPr marL="3199989" indent="0">
              <a:buNone/>
              <a:defRPr sz="1600" b="1"/>
            </a:lvl8pPr>
            <a:lvl9pPr marL="365713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1" y="1916834"/>
            <a:ext cx="4040188" cy="42093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4008" y="1052750"/>
            <a:ext cx="4041775" cy="72008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1" indent="0">
              <a:buNone/>
              <a:defRPr sz="2000" b="1"/>
            </a:lvl2pPr>
            <a:lvl3pPr marL="914282" indent="0">
              <a:buNone/>
              <a:defRPr sz="1800" b="1"/>
            </a:lvl3pPr>
            <a:lvl4pPr marL="1371424" indent="0">
              <a:buNone/>
              <a:defRPr sz="1600" b="1"/>
            </a:lvl4pPr>
            <a:lvl5pPr marL="1828565" indent="0">
              <a:buNone/>
              <a:defRPr sz="1600" b="1"/>
            </a:lvl5pPr>
            <a:lvl6pPr marL="2285706" indent="0">
              <a:buNone/>
              <a:defRPr sz="1600" b="1"/>
            </a:lvl6pPr>
            <a:lvl7pPr marL="2742848" indent="0">
              <a:buNone/>
              <a:defRPr sz="1600" b="1"/>
            </a:lvl7pPr>
            <a:lvl8pPr marL="3199989" indent="0">
              <a:buNone/>
              <a:defRPr sz="1600" b="1"/>
            </a:lvl8pPr>
            <a:lvl9pPr marL="365713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7" y="1916834"/>
            <a:ext cx="4041775" cy="42093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428" tIns="45714" rIns="91428" bIns="45714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C80B04-32FB-4110-9FF9-FBF53389714F}" type="datetime1">
              <a:rPr lang="ru-RU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F1E6A6-F402-49C2-9EF3-46E19D883B1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512393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428" tIns="45714" rIns="91428" bIns="45714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BE536F-EDA7-4214-B398-E8F71F26B51C}" type="datetime1">
              <a:rPr lang="ru-RU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6C3F08-FFF0-464A-BBA6-F669EE7B42F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131802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EB9C21-54EC-447B-A058-B68F339DC719}" type="datetime1">
              <a:rPr lang="ru-RU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515593-4938-48C3-A027-E9FEB032896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786363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10" y="273053"/>
            <a:ext cx="3008313" cy="491654"/>
          </a:xfrm>
          <a:prstGeom prst="rect">
            <a:avLst/>
          </a:prstGeom>
        </p:spPr>
        <p:txBody>
          <a:bodyPr lIns="91428" tIns="45714" rIns="91428" bIns="45714"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113" y="1052758"/>
            <a:ext cx="5111750" cy="507342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10" y="1052758"/>
            <a:ext cx="3008313" cy="5073427"/>
          </a:xfrm>
        </p:spPr>
        <p:txBody>
          <a:bodyPr/>
          <a:lstStyle>
            <a:lvl1pPr marL="0" indent="0">
              <a:buNone/>
              <a:defRPr sz="1400"/>
            </a:lvl1pPr>
            <a:lvl2pPr marL="457141" indent="0">
              <a:buNone/>
              <a:defRPr sz="1200"/>
            </a:lvl2pPr>
            <a:lvl3pPr marL="914282" indent="0">
              <a:buNone/>
              <a:defRPr sz="1000"/>
            </a:lvl3pPr>
            <a:lvl4pPr marL="1371424" indent="0">
              <a:buNone/>
              <a:defRPr sz="900"/>
            </a:lvl4pPr>
            <a:lvl5pPr marL="1828565" indent="0">
              <a:buNone/>
              <a:defRPr sz="900"/>
            </a:lvl5pPr>
            <a:lvl6pPr marL="2285706" indent="0">
              <a:buNone/>
              <a:defRPr sz="900"/>
            </a:lvl6pPr>
            <a:lvl7pPr marL="2742848" indent="0">
              <a:buNone/>
              <a:defRPr sz="900"/>
            </a:lvl7pPr>
            <a:lvl8pPr marL="3199989" indent="0">
              <a:buNone/>
              <a:defRPr sz="900"/>
            </a:lvl8pPr>
            <a:lvl9pPr marL="365713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5A1764-323C-4679-ACE8-D28F68006235}" type="datetime1">
              <a:rPr lang="ru-RU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A6188D-3729-4D15-8BE2-836FB0B2D54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878709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91" y="4800664"/>
            <a:ext cx="5486400" cy="566738"/>
          </a:xfrm>
          <a:prstGeom prst="rect">
            <a:avLst/>
          </a:prstGeom>
        </p:spPr>
        <p:txBody>
          <a:bodyPr lIns="91428" tIns="45714" rIns="91428" bIns="45714"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91" y="1124745"/>
            <a:ext cx="5486400" cy="3602831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41" indent="0">
              <a:buNone/>
              <a:defRPr sz="2800"/>
            </a:lvl2pPr>
            <a:lvl3pPr marL="914282" indent="0">
              <a:buNone/>
              <a:defRPr sz="2400"/>
            </a:lvl3pPr>
            <a:lvl4pPr marL="1371424" indent="0">
              <a:buNone/>
              <a:defRPr sz="2000"/>
            </a:lvl4pPr>
            <a:lvl5pPr marL="1828565" indent="0">
              <a:buNone/>
              <a:defRPr sz="2000"/>
            </a:lvl5pPr>
            <a:lvl6pPr marL="2285706" indent="0">
              <a:buNone/>
              <a:defRPr sz="2000"/>
            </a:lvl6pPr>
            <a:lvl7pPr marL="2742848" indent="0">
              <a:buNone/>
              <a:defRPr sz="2000"/>
            </a:lvl7pPr>
            <a:lvl8pPr marL="3199989" indent="0">
              <a:buNone/>
              <a:defRPr sz="2000"/>
            </a:lvl8pPr>
            <a:lvl9pPr marL="3657130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91" y="5367402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1" indent="0">
              <a:buNone/>
              <a:defRPr sz="1200"/>
            </a:lvl2pPr>
            <a:lvl3pPr marL="914282" indent="0">
              <a:buNone/>
              <a:defRPr sz="1000"/>
            </a:lvl3pPr>
            <a:lvl4pPr marL="1371424" indent="0">
              <a:buNone/>
              <a:defRPr sz="900"/>
            </a:lvl4pPr>
            <a:lvl5pPr marL="1828565" indent="0">
              <a:buNone/>
              <a:defRPr sz="900"/>
            </a:lvl5pPr>
            <a:lvl6pPr marL="2285706" indent="0">
              <a:buNone/>
              <a:defRPr sz="900"/>
            </a:lvl6pPr>
            <a:lvl7pPr marL="2742848" indent="0">
              <a:buNone/>
              <a:defRPr sz="900"/>
            </a:lvl7pPr>
            <a:lvl8pPr marL="3199989" indent="0">
              <a:buNone/>
              <a:defRPr sz="900"/>
            </a:lvl8pPr>
            <a:lvl9pPr marL="365713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EAE878-233F-422B-AD0F-26CEFBDC0929}" type="datetime1">
              <a:rPr lang="ru-RU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D174F9-AF5D-446A-A6FC-379D4B3E8A9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99444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124762"/>
            <a:ext cx="8229600" cy="500141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428" tIns="45714" rIns="91428" bIns="45714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E5A6D1-A662-4C0A-96C4-F9E4C9350A57}" type="datetime1">
              <a:rPr lang="ru-RU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1857DE-3DAA-4881-AAF2-E1DC377679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24449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149FC8-CC60-43BF-B6B0-F36B542C8E1B}" type="datetime1">
              <a:rPr lang="ru-RU" smtClean="0"/>
              <a:t>26.05.2015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612E68-E113-4D71-A3F4-A88CC2A6E41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041035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980730"/>
            <a:ext cx="2057400" cy="5145435"/>
          </a:xfrm>
          <a:prstGeom prst="rect">
            <a:avLst/>
          </a:prstGeom>
        </p:spPr>
        <p:txBody>
          <a:bodyPr vert="eaVert" lIns="91428" tIns="45714" rIns="91428" bIns="45714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980730"/>
            <a:ext cx="6019800" cy="514543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626052-2A96-4DAE-9FBE-03B17510B933}" type="datetime1">
              <a:rPr lang="ru-RU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807573-721D-4265-BB94-4A55FACD2FF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463240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396940" y="825395"/>
            <a:ext cx="8269784" cy="490786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4" name="Slide Number Placeholder 5"/>
          <p:cNvSpPr txBox="1">
            <a:spLocks/>
          </p:cNvSpPr>
          <p:nvPr/>
        </p:nvSpPr>
        <p:spPr>
          <a:xfrm>
            <a:off x="131763" y="6356350"/>
            <a:ext cx="2133600" cy="363538"/>
          </a:xfrm>
          <a:prstGeom prst="rect">
            <a:avLst/>
          </a:prstGeom>
        </p:spPr>
        <p:txBody>
          <a:bodyPr lIns="90883" tIns="45430" rIns="90883" bIns="45430" anchor="ctr"/>
          <a:lstStyle>
            <a:lvl1pPr algn="l">
              <a:defRPr/>
            </a:lvl1pPr>
          </a:lstStyle>
          <a:p>
            <a:pPr defTabSz="90875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 smtClean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Прямоугольник с одним скругленным углом 6"/>
          <p:cNvSpPr/>
          <p:nvPr/>
        </p:nvSpPr>
        <p:spPr bwMode="auto">
          <a:xfrm rot="10800000" flipH="1">
            <a:off x="0" y="-1588"/>
            <a:ext cx="8675688" cy="557213"/>
          </a:xfrm>
          <a:prstGeom prst="round1Rect">
            <a:avLst>
              <a:gd name="adj" fmla="val 50000"/>
            </a:avLst>
          </a:prstGeom>
          <a:gradFill>
            <a:gsLst>
              <a:gs pos="0">
                <a:srgbClr val="1D4576">
                  <a:alpha val="85000"/>
                </a:srgbClr>
              </a:gs>
              <a:gs pos="100000">
                <a:srgbClr val="0066CC">
                  <a:alpha val="75000"/>
                </a:srgbClr>
              </a:gs>
            </a:gsLst>
            <a:lin ang="16200000" scaled="1"/>
          </a:gradFill>
          <a:ln>
            <a:noFill/>
          </a:ln>
          <a:effectLst/>
        </p:spPr>
        <p:txBody>
          <a:bodyPr lIns="85585" tIns="42798" rIns="85585" bIns="42798"/>
          <a:lstStyle/>
          <a:p>
            <a:pPr defTabSz="855857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2300" dirty="0">
              <a:solidFill>
                <a:prstClr val="black"/>
              </a:solidFill>
              <a:latin typeface="Times" pitchFamily="18" charset="0"/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-546" y="-1470"/>
            <a:ext cx="8172946" cy="556164"/>
          </a:xfrm>
          <a:prstGeom prst="rect">
            <a:avLst/>
          </a:prstGeom>
        </p:spPr>
        <p:txBody>
          <a:bodyPr lIns="91434" tIns="45717" rIns="91434" bIns="45717"/>
          <a:lstStyle>
            <a:lvl1pPr>
              <a:lnSpc>
                <a:spcPct val="80000"/>
              </a:lnSpc>
              <a:defRPr sz="2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470900" y="6356350"/>
            <a:ext cx="43973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63C96C-1F7F-43F5-9DA4-D42E1923BEB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0602945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109886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56" y="9161"/>
            <a:ext cx="7141569" cy="900469"/>
          </a:xfrm>
          <a:prstGeom prst="rect">
            <a:avLst/>
          </a:prstGeom>
        </p:spPr>
        <p:txBody>
          <a:bodyPr>
            <a:normAutofit/>
          </a:bodyPr>
          <a:lstStyle>
            <a:lvl1pPr marL="9207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440" tIns="45720" rIns="91440" bIns="45720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902E3CCE-C095-4280-AEAB-95E1F10EB46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054012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52"/>
            <a:ext cx="7772400" cy="121489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819826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052771"/>
            <a:ext cx="4038600" cy="5073427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052771"/>
            <a:ext cx="4038600" cy="5073427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0981" tIns="45480" rIns="90981" bIns="45480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45479F-4BF2-4DE4-ABEF-706A1638BD47}" type="datetime1">
              <a:rPr lang="ru-RU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3AA1FF-59C8-4BA4-9C50-2ECB3627A53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106252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052758"/>
            <a:ext cx="4040188" cy="72008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4879" indent="0">
              <a:buNone/>
              <a:defRPr sz="2000" b="1"/>
            </a:lvl2pPr>
            <a:lvl3pPr marL="909770" indent="0">
              <a:buNone/>
              <a:defRPr sz="1800" b="1"/>
            </a:lvl3pPr>
            <a:lvl4pPr marL="1364658" indent="0">
              <a:buNone/>
              <a:defRPr sz="1600" b="1"/>
            </a:lvl4pPr>
            <a:lvl5pPr marL="1819542" indent="0">
              <a:buNone/>
              <a:defRPr sz="1600" b="1"/>
            </a:lvl5pPr>
            <a:lvl6pPr marL="2274428" indent="0">
              <a:buNone/>
              <a:defRPr sz="1600" b="1"/>
            </a:lvl6pPr>
            <a:lvl7pPr marL="2729312" indent="0">
              <a:buNone/>
              <a:defRPr sz="1600" b="1"/>
            </a:lvl7pPr>
            <a:lvl8pPr marL="3184195" indent="0">
              <a:buNone/>
              <a:defRPr sz="1600" b="1"/>
            </a:lvl8pPr>
            <a:lvl9pPr marL="3639086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1" y="1916849"/>
            <a:ext cx="4040188" cy="4209331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4082" y="1052758"/>
            <a:ext cx="4041775" cy="72008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4879" indent="0">
              <a:buNone/>
              <a:defRPr sz="2000" b="1"/>
            </a:lvl2pPr>
            <a:lvl3pPr marL="909770" indent="0">
              <a:buNone/>
              <a:defRPr sz="1800" b="1"/>
            </a:lvl3pPr>
            <a:lvl4pPr marL="1364658" indent="0">
              <a:buNone/>
              <a:defRPr sz="1600" b="1"/>
            </a:lvl4pPr>
            <a:lvl5pPr marL="1819542" indent="0">
              <a:buNone/>
              <a:defRPr sz="1600" b="1"/>
            </a:lvl5pPr>
            <a:lvl6pPr marL="2274428" indent="0">
              <a:buNone/>
              <a:defRPr sz="1600" b="1"/>
            </a:lvl6pPr>
            <a:lvl7pPr marL="2729312" indent="0">
              <a:buNone/>
              <a:defRPr sz="1600" b="1"/>
            </a:lvl7pPr>
            <a:lvl8pPr marL="3184195" indent="0">
              <a:buNone/>
              <a:defRPr sz="1600" b="1"/>
            </a:lvl8pPr>
            <a:lvl9pPr marL="3639086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105" y="1916849"/>
            <a:ext cx="4041775" cy="4209331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0981" tIns="45480" rIns="90981" bIns="45480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A43CD5-8710-4D19-B0D9-7D3787AF9C52}" type="datetime1">
              <a:rPr lang="ru-RU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56C7FA-1172-452A-958F-88F20790B29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151669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0981" tIns="45480" rIns="90981" bIns="45480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606868-9617-45BA-85FA-C46067B8C6D6}" type="datetime1">
              <a:rPr lang="ru-RU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C29960-D13E-4002-8A0B-B7DAD92F501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931888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124775"/>
            <a:ext cx="8229600" cy="500141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0981" tIns="45480" rIns="90981" bIns="45480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64871D-F91A-4D87-BD10-C8899294704B}" type="datetime1">
              <a:rPr lang="ru-RU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F5965F-FB90-49BD-AABC-2898379650B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871702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396946" y="825399"/>
            <a:ext cx="8269784" cy="490786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131763" y="6356350"/>
            <a:ext cx="2133600" cy="363538"/>
          </a:xfrm>
          <a:prstGeom prst="rect">
            <a:avLst/>
          </a:prstGeom>
        </p:spPr>
        <p:txBody>
          <a:bodyPr lIns="90438" tIns="45213" rIns="90438" bIns="45213" anchor="ctr"/>
          <a:lstStyle>
            <a:lvl1pPr algn="l">
              <a:defRPr/>
            </a:lvl1pPr>
          </a:lstStyle>
          <a:p>
            <a:pPr defTabSz="904273">
              <a:defRPr/>
            </a:pPr>
            <a:endParaRPr lang="en-US" sz="1200" dirty="0" smtClean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Прямоугольник с одним скругленным углом 6"/>
          <p:cNvSpPr/>
          <p:nvPr userDrawn="1"/>
        </p:nvSpPr>
        <p:spPr bwMode="auto">
          <a:xfrm rot="10800000" flipH="1">
            <a:off x="0" y="-1588"/>
            <a:ext cx="8675688" cy="557213"/>
          </a:xfrm>
          <a:prstGeom prst="round1Rect">
            <a:avLst>
              <a:gd name="adj" fmla="val 50000"/>
            </a:avLst>
          </a:prstGeom>
          <a:gradFill>
            <a:gsLst>
              <a:gs pos="0">
                <a:srgbClr val="1D4576">
                  <a:alpha val="85000"/>
                </a:srgbClr>
              </a:gs>
              <a:gs pos="100000">
                <a:srgbClr val="0066CC">
                  <a:alpha val="75000"/>
                </a:srgbClr>
              </a:gs>
            </a:gsLst>
            <a:lin ang="16200000" scaled="1"/>
          </a:gradFill>
          <a:ln>
            <a:noFill/>
          </a:ln>
          <a:effectLst/>
        </p:spPr>
        <p:txBody>
          <a:bodyPr lIns="85178" tIns="42595" rIns="85178" bIns="42595"/>
          <a:lstStyle/>
          <a:p>
            <a:pPr defTabSz="851639" eaLnBrk="0" hangingPunct="0">
              <a:defRPr/>
            </a:pPr>
            <a:endParaRPr lang="ru-RU" sz="2300">
              <a:solidFill>
                <a:prstClr val="black"/>
              </a:solidFill>
              <a:latin typeface="Times" pitchFamily="18" charset="0"/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-539" y="-1470"/>
            <a:ext cx="8172946" cy="556164"/>
          </a:xfrm>
          <a:prstGeom prst="rect">
            <a:avLst/>
          </a:prstGeom>
        </p:spPr>
        <p:txBody>
          <a:bodyPr lIns="90986" tIns="45483" rIns="90986" bIns="45483"/>
          <a:lstStyle>
            <a:lvl1pPr>
              <a:lnSpc>
                <a:spcPct val="80000"/>
              </a:lnSpc>
              <a:defRPr sz="2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470900" y="6356350"/>
            <a:ext cx="43973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A75E73-6420-479E-8117-C8E1608CA1B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049245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  <a:prstGeom prst="rect">
            <a:avLst/>
          </a:prstGeom>
        </p:spPr>
        <p:txBody>
          <a:bodyPr lIns="91428" tIns="45714" rIns="91428" bIns="45714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9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E60289-DF8C-45A7-9138-917E4EF0D65B}" type="datetime1">
              <a:rPr lang="ru-RU" smtClean="0"/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E6EE09-9FF3-4E4C-AAC6-007D1E3AA98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6756653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01" tIns="45488" rIns="91001" bIns="4548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395575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44" y="9171"/>
            <a:ext cx="7141569" cy="900469"/>
          </a:xfrm>
          <a:prstGeom prst="rect">
            <a:avLst/>
          </a:prstGeom>
        </p:spPr>
        <p:txBody>
          <a:bodyPr lIns="91001" tIns="45488" rIns="91001" bIns="45488">
            <a:normAutofit/>
          </a:bodyPr>
          <a:lstStyle>
            <a:lvl1pPr marL="9162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01" tIns="45488" rIns="91001" bIns="4548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D506C23-2202-417F-A5C6-E6921672233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872610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01" tIns="45488" rIns="91001" bIns="45488" anchor="ctr"/>
          <a:lstStyle/>
          <a:p>
            <a:pPr algn="ctr" defTabSz="909944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60"/>
            <a:ext cx="7772400" cy="1214896"/>
          </a:xfrm>
          <a:prstGeom prst="rect">
            <a:avLst/>
          </a:prstGeom>
        </p:spPr>
        <p:txBody>
          <a:bodyPr lIns="91001" tIns="45488" rIns="91001" bIns="4548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9004020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555" tIns="40776" rIns="81555" bIns="40776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9525409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01" tIns="45488" rIns="91001" bIns="4548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9899307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44" y="9171"/>
            <a:ext cx="7141569" cy="900469"/>
          </a:xfrm>
          <a:prstGeom prst="rect">
            <a:avLst/>
          </a:prstGeom>
        </p:spPr>
        <p:txBody>
          <a:bodyPr lIns="91001" tIns="45488" rIns="91001" bIns="45488">
            <a:normAutofit/>
          </a:bodyPr>
          <a:lstStyle>
            <a:lvl1pPr marL="9162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01" tIns="45488" rIns="91001" bIns="4548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DC03F10E-ABBE-42B4-81D6-F99097293B3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908067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01" tIns="45488" rIns="91001" bIns="45488" anchor="ctr"/>
          <a:lstStyle/>
          <a:p>
            <a:pPr algn="ctr" defTabSz="909944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60"/>
            <a:ext cx="7772400" cy="1214896"/>
          </a:xfrm>
          <a:prstGeom prst="rect">
            <a:avLst/>
          </a:prstGeom>
        </p:spPr>
        <p:txBody>
          <a:bodyPr lIns="91001" tIns="45488" rIns="91001" bIns="4548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211524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555" tIns="40776" rIns="81555" bIns="40776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295364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01" tIns="45488" rIns="91001" bIns="4548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222386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44" y="9171"/>
            <a:ext cx="7141569" cy="900469"/>
          </a:xfrm>
          <a:prstGeom prst="rect">
            <a:avLst/>
          </a:prstGeom>
        </p:spPr>
        <p:txBody>
          <a:bodyPr lIns="91001" tIns="45488" rIns="91001" bIns="45488">
            <a:normAutofit/>
          </a:bodyPr>
          <a:lstStyle>
            <a:lvl1pPr marL="9162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01" tIns="45488" rIns="91001" bIns="4548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4ACA00D5-2651-43AF-B7BA-50B1A9967A9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45773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428" tIns="45714" rIns="91428" bIns="45714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124762"/>
            <a:ext cx="8229600" cy="50014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E9EB41-4A37-4A1C-A188-481BF1695266}" type="datetime1">
              <a:rPr lang="ru-RU" smtClean="0"/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B30049-E612-47F7-AEC4-8B3D3F615C0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654282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01" tIns="45488" rIns="91001" bIns="45488" anchor="ctr"/>
          <a:lstStyle/>
          <a:p>
            <a:pPr algn="ctr" defTabSz="909944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60"/>
            <a:ext cx="7772400" cy="1214896"/>
          </a:xfrm>
          <a:prstGeom prst="rect">
            <a:avLst/>
          </a:prstGeom>
        </p:spPr>
        <p:txBody>
          <a:bodyPr lIns="91001" tIns="45488" rIns="91001" bIns="4548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6887457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555" tIns="40776" rIns="81555" bIns="40776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5003965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01" tIns="45488" rIns="91001" bIns="4548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718511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44" y="9171"/>
            <a:ext cx="7141569" cy="900469"/>
          </a:xfrm>
          <a:prstGeom prst="rect">
            <a:avLst/>
          </a:prstGeom>
        </p:spPr>
        <p:txBody>
          <a:bodyPr lIns="91001" tIns="45488" rIns="91001" bIns="45488">
            <a:normAutofit/>
          </a:bodyPr>
          <a:lstStyle>
            <a:lvl1pPr marL="9162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01" tIns="45488" rIns="91001" bIns="4548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406180C1-2BC7-43A5-A9D0-E7E03F39045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4545753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01" tIns="45488" rIns="91001" bIns="45488" anchor="ctr"/>
          <a:lstStyle/>
          <a:p>
            <a:pPr algn="ctr" defTabSz="909944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60"/>
            <a:ext cx="7772400" cy="1214896"/>
          </a:xfrm>
          <a:prstGeom prst="rect">
            <a:avLst/>
          </a:prstGeom>
        </p:spPr>
        <p:txBody>
          <a:bodyPr lIns="91001" tIns="45488" rIns="91001" bIns="4548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98966410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555" tIns="40776" rIns="81555" bIns="40776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111006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01" tIns="45488" rIns="91001" bIns="4548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680359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44" y="9171"/>
            <a:ext cx="7141569" cy="900469"/>
          </a:xfrm>
          <a:prstGeom prst="rect">
            <a:avLst/>
          </a:prstGeom>
        </p:spPr>
        <p:txBody>
          <a:bodyPr lIns="91001" tIns="45488" rIns="91001" bIns="45488">
            <a:normAutofit/>
          </a:bodyPr>
          <a:lstStyle>
            <a:lvl1pPr marL="9162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01" tIns="45488" rIns="91001" bIns="4548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37BD1A88-4CBD-41C6-B5A2-259F2FC4E19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618344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01" tIns="45488" rIns="91001" bIns="45488" anchor="ctr"/>
          <a:lstStyle/>
          <a:p>
            <a:pPr algn="ctr" defTabSz="909944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60"/>
            <a:ext cx="7772400" cy="1214896"/>
          </a:xfrm>
          <a:prstGeom prst="rect">
            <a:avLst/>
          </a:prstGeom>
        </p:spPr>
        <p:txBody>
          <a:bodyPr lIns="91001" tIns="45488" rIns="91001" bIns="4548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7471725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555" tIns="40776" rIns="81555" bIns="40776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317878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  <a:prstGeom prst="rect">
            <a:avLst/>
          </a:prstGeom>
        </p:spPr>
        <p:txBody>
          <a:bodyPr lIns="91428" tIns="45714" rIns="91428" bIns="45714"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4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2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6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4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9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3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D0FF0C-1956-424D-B805-E0A44DB192EB}" type="datetime1">
              <a:rPr lang="ru-RU" smtClean="0"/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CC05B2-BEA6-494F-8CE6-7F0A8B25EAF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248756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01" tIns="45488" rIns="91001" bIns="4548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91246622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44" y="9171"/>
            <a:ext cx="7141569" cy="900469"/>
          </a:xfrm>
          <a:prstGeom prst="rect">
            <a:avLst/>
          </a:prstGeom>
        </p:spPr>
        <p:txBody>
          <a:bodyPr lIns="91001" tIns="45488" rIns="91001" bIns="45488">
            <a:normAutofit/>
          </a:bodyPr>
          <a:lstStyle>
            <a:lvl1pPr marL="9162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01" tIns="45488" rIns="91001" bIns="4548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EAADF3BD-B4AF-4AC3-B5ED-43CE8878393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4456802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01" tIns="45488" rIns="91001" bIns="45488" anchor="ctr"/>
          <a:lstStyle/>
          <a:p>
            <a:pPr algn="ctr" defTabSz="909944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60"/>
            <a:ext cx="7772400" cy="1214896"/>
          </a:xfrm>
          <a:prstGeom prst="rect">
            <a:avLst/>
          </a:prstGeom>
        </p:spPr>
        <p:txBody>
          <a:bodyPr lIns="91001" tIns="45488" rIns="91001" bIns="4548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31500557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555" tIns="40776" rIns="81555" bIns="40776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3101686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052771"/>
            <a:ext cx="4038600" cy="5073427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052771"/>
            <a:ext cx="4038600" cy="5073427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044" tIns="45512" rIns="91044" bIns="45512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DBA311-6CF9-4793-B5B0-FA12E2677429}" type="datetime1">
              <a:rPr lang="ru-RU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A59D97-2FB4-4A8E-B409-F28110B35DA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760569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052758"/>
            <a:ext cx="4040188" cy="72008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5196" indent="0">
              <a:buNone/>
              <a:defRPr sz="2000" b="1"/>
            </a:lvl2pPr>
            <a:lvl3pPr marL="910406" indent="0">
              <a:buNone/>
              <a:defRPr sz="1800" b="1"/>
            </a:lvl3pPr>
            <a:lvl4pPr marL="1365608" indent="0">
              <a:buNone/>
              <a:defRPr sz="1600" b="1"/>
            </a:lvl4pPr>
            <a:lvl5pPr marL="1820812" indent="0">
              <a:buNone/>
              <a:defRPr sz="1600" b="1"/>
            </a:lvl5pPr>
            <a:lvl6pPr marL="2276011" indent="0">
              <a:buNone/>
              <a:defRPr sz="1600" b="1"/>
            </a:lvl6pPr>
            <a:lvl7pPr marL="2731217" indent="0">
              <a:buNone/>
              <a:defRPr sz="1600" b="1"/>
            </a:lvl7pPr>
            <a:lvl8pPr marL="3186419" indent="0">
              <a:buNone/>
              <a:defRPr sz="1600" b="1"/>
            </a:lvl8pPr>
            <a:lvl9pPr marL="364162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1" y="1916849"/>
            <a:ext cx="4040188" cy="4209331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4076" y="1052758"/>
            <a:ext cx="4041775" cy="72008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5196" indent="0">
              <a:buNone/>
              <a:defRPr sz="2000" b="1"/>
            </a:lvl2pPr>
            <a:lvl3pPr marL="910406" indent="0">
              <a:buNone/>
              <a:defRPr sz="1800" b="1"/>
            </a:lvl3pPr>
            <a:lvl4pPr marL="1365608" indent="0">
              <a:buNone/>
              <a:defRPr sz="1600" b="1"/>
            </a:lvl4pPr>
            <a:lvl5pPr marL="1820812" indent="0">
              <a:buNone/>
              <a:defRPr sz="1600" b="1"/>
            </a:lvl5pPr>
            <a:lvl6pPr marL="2276011" indent="0">
              <a:buNone/>
              <a:defRPr sz="1600" b="1"/>
            </a:lvl6pPr>
            <a:lvl7pPr marL="2731217" indent="0">
              <a:buNone/>
              <a:defRPr sz="1600" b="1"/>
            </a:lvl7pPr>
            <a:lvl8pPr marL="3186419" indent="0">
              <a:buNone/>
              <a:defRPr sz="1600" b="1"/>
            </a:lvl8pPr>
            <a:lvl9pPr marL="364162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95" y="1916849"/>
            <a:ext cx="4041775" cy="4209331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044" tIns="45512" rIns="91044" bIns="45512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70DC5F-629F-4737-B8CA-28CFA72FB75B}" type="datetime1">
              <a:rPr lang="ru-RU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4AE967-A981-41D8-B1BF-1A604A94067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80581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044" tIns="45512" rIns="91044" bIns="45512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1A26B-73B3-42E8-B2F1-701C6BA2C5C4}" type="datetime1">
              <a:rPr lang="ru-RU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94271A-0910-4F93-81C6-713954798DF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322969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124775"/>
            <a:ext cx="8229600" cy="500141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044" tIns="45512" rIns="91044" bIns="45512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40FD16-46F0-490B-BAED-B42252622BD4}" type="datetime1">
              <a:rPr lang="ru-RU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308A98-EAA7-42AC-8E3B-3E4E7EC4FF5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5060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395536" y="825399"/>
            <a:ext cx="8271186" cy="490786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131763" y="6356350"/>
            <a:ext cx="2133600" cy="365125"/>
          </a:xfrm>
          <a:prstGeom prst="rect">
            <a:avLst/>
          </a:prstGeom>
        </p:spPr>
        <p:txBody>
          <a:bodyPr lIns="90501" tIns="45246" rIns="90501" bIns="45246" anchor="ctr"/>
          <a:lstStyle>
            <a:lvl1pPr algn="l">
              <a:defRPr/>
            </a:lvl1pPr>
          </a:lstStyle>
          <a:p>
            <a:pPr defTabSz="904904">
              <a:defRPr/>
            </a:pPr>
            <a:endParaRPr lang="en-US" sz="1200" dirty="0" smtClean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Прямоугольник с одним скругленным углом 4"/>
          <p:cNvSpPr/>
          <p:nvPr userDrawn="1"/>
        </p:nvSpPr>
        <p:spPr bwMode="auto">
          <a:xfrm rot="10800000" flipH="1">
            <a:off x="0" y="-1588"/>
            <a:ext cx="8675688" cy="555626"/>
          </a:xfrm>
          <a:prstGeom prst="round1Rect">
            <a:avLst>
              <a:gd name="adj" fmla="val 50000"/>
            </a:avLst>
          </a:prstGeom>
          <a:gradFill>
            <a:gsLst>
              <a:gs pos="0">
                <a:srgbClr val="1D4576">
                  <a:alpha val="85000"/>
                </a:srgbClr>
              </a:gs>
              <a:gs pos="100000">
                <a:srgbClr val="0066CC">
                  <a:alpha val="75000"/>
                </a:srgbClr>
              </a:gs>
            </a:gsLst>
            <a:lin ang="16200000" scaled="1"/>
          </a:gradFill>
          <a:ln>
            <a:noFill/>
          </a:ln>
          <a:effectLst/>
        </p:spPr>
        <p:txBody>
          <a:bodyPr lIns="85238" tIns="42625" rIns="85238" bIns="42625"/>
          <a:lstStyle/>
          <a:p>
            <a:pPr defTabSz="852232" eaLnBrk="0" hangingPunct="0">
              <a:defRPr/>
            </a:pPr>
            <a:endParaRPr lang="ru-RU" sz="2300" dirty="0">
              <a:solidFill>
                <a:prstClr val="black"/>
              </a:solidFill>
              <a:latin typeface="Times" pitchFamily="18" charset="0"/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-540" y="-1470"/>
            <a:ext cx="8172946" cy="556164"/>
          </a:xfrm>
          <a:prstGeom prst="rect">
            <a:avLst/>
          </a:prstGeom>
        </p:spPr>
        <p:txBody>
          <a:bodyPr lIns="91052" tIns="45515" rIns="91052" bIns="45515"/>
          <a:lstStyle>
            <a:lvl1pPr>
              <a:lnSpc>
                <a:spcPct val="80000"/>
              </a:lnSpc>
              <a:defRPr sz="2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470900" y="6356350"/>
            <a:ext cx="43973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536F12-7A6E-424F-9CD5-6729AC9B912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789675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58" tIns="45518" rIns="91058" bIns="4551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381434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052758"/>
            <a:ext cx="4038600" cy="507342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052758"/>
            <a:ext cx="4038600" cy="507342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428" tIns="45714" rIns="91428" bIns="45714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FF9350-8B96-4E12-80FD-77B3942A2222}" type="datetime1">
              <a:rPr lang="ru-RU" smtClean="0"/>
              <a:t>26.05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EE575D-7181-4D55-B511-B90EB4E1CD9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086128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56" y="9161"/>
            <a:ext cx="7141569" cy="900469"/>
          </a:xfrm>
          <a:prstGeom prst="rect">
            <a:avLst/>
          </a:prstGeom>
        </p:spPr>
        <p:txBody>
          <a:bodyPr lIns="91058" tIns="45518" rIns="91058" bIns="45518">
            <a:normAutofit/>
          </a:bodyPr>
          <a:lstStyle>
            <a:lvl1pPr marL="91682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58" tIns="45518" rIns="91058" bIns="4551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0EAAC458-3B97-4527-B472-4962C96CD5C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402832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58" tIns="45518" rIns="91058" bIns="45518" anchor="ctr"/>
          <a:lstStyle/>
          <a:p>
            <a:pPr algn="ctr" defTabSz="910523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55"/>
            <a:ext cx="7772400" cy="1214896"/>
          </a:xfrm>
          <a:prstGeom prst="rect">
            <a:avLst/>
          </a:prstGeom>
        </p:spPr>
        <p:txBody>
          <a:bodyPr lIns="91058" tIns="45518" rIns="91058" bIns="4551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358327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607" tIns="40802" rIns="81607" bIns="40802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410354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58" tIns="45518" rIns="91058" bIns="4551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83801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56" y="9161"/>
            <a:ext cx="7141569" cy="900469"/>
          </a:xfrm>
          <a:prstGeom prst="rect">
            <a:avLst/>
          </a:prstGeom>
        </p:spPr>
        <p:txBody>
          <a:bodyPr lIns="91058" tIns="45518" rIns="91058" bIns="45518">
            <a:normAutofit/>
          </a:bodyPr>
          <a:lstStyle>
            <a:lvl1pPr marL="91682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58" tIns="45518" rIns="91058" bIns="4551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7BB2965E-67C7-41BA-B180-820FE7415CF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547860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58" tIns="45518" rIns="91058" bIns="45518" anchor="ctr"/>
          <a:lstStyle/>
          <a:p>
            <a:pPr algn="ctr" defTabSz="910523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55"/>
            <a:ext cx="7772400" cy="1214896"/>
          </a:xfrm>
          <a:prstGeom prst="rect">
            <a:avLst/>
          </a:prstGeom>
        </p:spPr>
        <p:txBody>
          <a:bodyPr lIns="91058" tIns="45518" rIns="91058" bIns="4551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244863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150813" y="17463"/>
            <a:ext cx="1704975" cy="1293812"/>
          </a:xfrm>
          <a:prstGeom prst="rect">
            <a:avLst/>
          </a:prstGeom>
          <a:solidFill>
            <a:srgbClr val="252A5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04850" y="274638"/>
            <a:ext cx="7981950" cy="1143000"/>
          </a:xfrm>
          <a:prstGeom prst="rect">
            <a:avLst/>
          </a:prstGeom>
        </p:spPr>
        <p:txBody>
          <a:bodyPr anchor="ctr"/>
          <a:lstStyle>
            <a:lvl1pPr>
              <a:defRPr lang="en-US" sz="2400" b="1" i="0" kern="1200" dirty="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382000" y="808038"/>
            <a:ext cx="762000" cy="503237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pPr>
              <a:defRPr/>
            </a:pPr>
            <a:fld id="{C7E2ABA8-A9E8-4A0C-ADFD-57B3C2B38241}" type="slidenum">
              <a:rPr lang="ru-RU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452900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26" y="609320"/>
            <a:ext cx="7772977" cy="1143000"/>
          </a:xfrm>
          <a:prstGeom prst="rect">
            <a:avLst/>
          </a:prstGeom>
        </p:spPr>
        <p:txBody>
          <a:bodyPr lIns="81947" tIns="40971" rIns="81947" bIns="40971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4464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052750"/>
            <a:ext cx="4040188" cy="72008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1" indent="0">
              <a:buNone/>
              <a:defRPr sz="2000" b="1"/>
            </a:lvl2pPr>
            <a:lvl3pPr marL="914282" indent="0">
              <a:buNone/>
              <a:defRPr sz="1800" b="1"/>
            </a:lvl3pPr>
            <a:lvl4pPr marL="1371424" indent="0">
              <a:buNone/>
              <a:defRPr sz="1600" b="1"/>
            </a:lvl4pPr>
            <a:lvl5pPr marL="1828565" indent="0">
              <a:buNone/>
              <a:defRPr sz="1600" b="1"/>
            </a:lvl5pPr>
            <a:lvl6pPr marL="2285706" indent="0">
              <a:buNone/>
              <a:defRPr sz="1600" b="1"/>
            </a:lvl6pPr>
            <a:lvl7pPr marL="2742848" indent="0">
              <a:buNone/>
              <a:defRPr sz="1600" b="1"/>
            </a:lvl7pPr>
            <a:lvl8pPr marL="3199989" indent="0">
              <a:buNone/>
              <a:defRPr sz="1600" b="1"/>
            </a:lvl8pPr>
            <a:lvl9pPr marL="365713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1" y="1916834"/>
            <a:ext cx="4040188" cy="42093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4008" y="1052750"/>
            <a:ext cx="4041775" cy="72008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1" indent="0">
              <a:buNone/>
              <a:defRPr sz="2000" b="1"/>
            </a:lvl2pPr>
            <a:lvl3pPr marL="914282" indent="0">
              <a:buNone/>
              <a:defRPr sz="1800" b="1"/>
            </a:lvl3pPr>
            <a:lvl4pPr marL="1371424" indent="0">
              <a:buNone/>
              <a:defRPr sz="1600" b="1"/>
            </a:lvl4pPr>
            <a:lvl5pPr marL="1828565" indent="0">
              <a:buNone/>
              <a:defRPr sz="1600" b="1"/>
            </a:lvl5pPr>
            <a:lvl6pPr marL="2285706" indent="0">
              <a:buNone/>
              <a:defRPr sz="1600" b="1"/>
            </a:lvl6pPr>
            <a:lvl7pPr marL="2742848" indent="0">
              <a:buNone/>
              <a:defRPr sz="1600" b="1"/>
            </a:lvl7pPr>
            <a:lvl8pPr marL="3199989" indent="0">
              <a:buNone/>
              <a:defRPr sz="1600" b="1"/>
            </a:lvl8pPr>
            <a:lvl9pPr marL="365713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7" y="1916834"/>
            <a:ext cx="4041775" cy="42093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428" tIns="45714" rIns="91428" bIns="45714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09EBD5-D957-493D-8F04-9F89B9D51F76}" type="datetime1">
              <a:rPr lang="ru-RU" smtClean="0"/>
              <a:t>26.05.2015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F1E6A6-F402-49C2-9EF3-46E19D883B1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6804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666" y="274638"/>
            <a:ext cx="7967133" cy="1143000"/>
          </a:xfrm>
          <a:prstGeom prst="rect">
            <a:avLst/>
          </a:prstGeom>
        </p:spPr>
        <p:txBody>
          <a:bodyPr anchor="ctr"/>
          <a:lstStyle>
            <a:lvl1pPr>
              <a:defRPr lang="en-US" sz="2400" b="1" i="0" kern="1200" dirty="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991986"/>
          </a:xfrm>
          <a:prstGeom prst="rect">
            <a:avLst/>
          </a:prstGeom>
        </p:spPr>
        <p:txBody>
          <a:bodyPr/>
          <a:lstStyle>
            <a:lvl1pPr>
              <a:defRPr lang="en-US" sz="1800" kern="1200" dirty="0" smtClean="0">
                <a:solidFill>
                  <a:schemeClr val="tx2">
                    <a:lumMod val="50000"/>
                  </a:schemeClr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1pPr>
            <a:lvl2pPr>
              <a:defRPr lang="en-US" sz="1800" kern="1200" dirty="0" smtClean="0">
                <a:solidFill>
                  <a:schemeClr val="tx2">
                    <a:lumMod val="50000"/>
                  </a:schemeClr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2pPr>
            <a:lvl3pPr>
              <a:defRPr lang="en-US" sz="1800" kern="1200" dirty="0" smtClean="0">
                <a:solidFill>
                  <a:schemeClr val="tx2">
                    <a:lumMod val="50000"/>
                  </a:schemeClr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3pPr>
            <a:lvl4pPr>
              <a:defRPr lang="en-US" sz="1800" kern="1200" dirty="0" smtClean="0">
                <a:solidFill>
                  <a:schemeClr val="tx2">
                    <a:lumMod val="50000"/>
                  </a:schemeClr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4pPr>
            <a:lvl5pPr>
              <a:defRPr lang="en-US" sz="1800" kern="1200" dirty="0">
                <a:solidFill>
                  <a:schemeClr val="tx2">
                    <a:lumMod val="50000"/>
                  </a:schemeClr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382000" y="808038"/>
            <a:ext cx="762000" cy="50323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  <a:latin typeface="Franklin Gothic Demi" pitchFamily="34" charset="0"/>
                <a:cs typeface="+mn-cs"/>
              </a:defRPr>
            </a:lvl1pPr>
          </a:lstStyle>
          <a:p>
            <a:pPr>
              <a:defRPr/>
            </a:pPr>
            <a:fld id="{E23C13D5-4602-4E6F-BCF2-583893014CB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7996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428" tIns="45714" rIns="91428" bIns="45714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308DF1-670A-4D87-BEF1-96632E8523D1}" type="datetime1">
              <a:rPr lang="ru-RU" smtClean="0"/>
              <a:t>26.05.2015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6C3F08-FFF0-464A-BBA6-F669EE7B42F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85991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0C07F6-9128-4945-8411-B30741A59137}" type="datetime1">
              <a:rPr lang="ru-RU" smtClean="0"/>
              <a:t>26.05.2015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515593-4938-48C3-A027-E9FEB032896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62747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10" y="273053"/>
            <a:ext cx="3008313" cy="491654"/>
          </a:xfrm>
          <a:prstGeom prst="rect">
            <a:avLst/>
          </a:prstGeom>
        </p:spPr>
        <p:txBody>
          <a:bodyPr lIns="91428" tIns="45714" rIns="91428" bIns="45714"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113" y="1052758"/>
            <a:ext cx="5111750" cy="507342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10" y="1052758"/>
            <a:ext cx="3008313" cy="5073427"/>
          </a:xfrm>
        </p:spPr>
        <p:txBody>
          <a:bodyPr/>
          <a:lstStyle>
            <a:lvl1pPr marL="0" indent="0">
              <a:buNone/>
              <a:defRPr sz="1400"/>
            </a:lvl1pPr>
            <a:lvl2pPr marL="457141" indent="0">
              <a:buNone/>
              <a:defRPr sz="1200"/>
            </a:lvl2pPr>
            <a:lvl3pPr marL="914282" indent="0">
              <a:buNone/>
              <a:defRPr sz="1000"/>
            </a:lvl3pPr>
            <a:lvl4pPr marL="1371424" indent="0">
              <a:buNone/>
              <a:defRPr sz="900"/>
            </a:lvl4pPr>
            <a:lvl5pPr marL="1828565" indent="0">
              <a:buNone/>
              <a:defRPr sz="900"/>
            </a:lvl5pPr>
            <a:lvl6pPr marL="2285706" indent="0">
              <a:buNone/>
              <a:defRPr sz="900"/>
            </a:lvl6pPr>
            <a:lvl7pPr marL="2742848" indent="0">
              <a:buNone/>
              <a:defRPr sz="900"/>
            </a:lvl7pPr>
            <a:lvl8pPr marL="3199989" indent="0">
              <a:buNone/>
              <a:defRPr sz="900"/>
            </a:lvl8pPr>
            <a:lvl9pPr marL="365713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13DFB4-EEE2-42A8-80A3-F99A2708CD2D}" type="datetime1">
              <a:rPr lang="ru-RU" smtClean="0"/>
              <a:t>26.05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A6188D-3729-4D15-8BE2-836FB0B2D54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08076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91" y="4800664"/>
            <a:ext cx="5486400" cy="566738"/>
          </a:xfrm>
          <a:prstGeom prst="rect">
            <a:avLst/>
          </a:prstGeom>
        </p:spPr>
        <p:txBody>
          <a:bodyPr lIns="91428" tIns="45714" rIns="91428" bIns="45714"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91" y="1124745"/>
            <a:ext cx="5486400" cy="3602831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41" indent="0">
              <a:buNone/>
              <a:defRPr sz="2800"/>
            </a:lvl2pPr>
            <a:lvl3pPr marL="914282" indent="0">
              <a:buNone/>
              <a:defRPr sz="2400"/>
            </a:lvl3pPr>
            <a:lvl4pPr marL="1371424" indent="0">
              <a:buNone/>
              <a:defRPr sz="2000"/>
            </a:lvl4pPr>
            <a:lvl5pPr marL="1828565" indent="0">
              <a:buNone/>
              <a:defRPr sz="2000"/>
            </a:lvl5pPr>
            <a:lvl6pPr marL="2285706" indent="0">
              <a:buNone/>
              <a:defRPr sz="2000"/>
            </a:lvl6pPr>
            <a:lvl7pPr marL="2742848" indent="0">
              <a:buNone/>
              <a:defRPr sz="2000"/>
            </a:lvl7pPr>
            <a:lvl8pPr marL="3199989" indent="0">
              <a:buNone/>
              <a:defRPr sz="2000"/>
            </a:lvl8pPr>
            <a:lvl9pPr marL="3657130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91" y="5367402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1" indent="0">
              <a:buNone/>
              <a:defRPr sz="1200"/>
            </a:lvl2pPr>
            <a:lvl3pPr marL="914282" indent="0">
              <a:buNone/>
              <a:defRPr sz="1000"/>
            </a:lvl3pPr>
            <a:lvl4pPr marL="1371424" indent="0">
              <a:buNone/>
              <a:defRPr sz="900"/>
            </a:lvl4pPr>
            <a:lvl5pPr marL="1828565" indent="0">
              <a:buNone/>
              <a:defRPr sz="900"/>
            </a:lvl5pPr>
            <a:lvl6pPr marL="2285706" indent="0">
              <a:buNone/>
              <a:defRPr sz="900"/>
            </a:lvl6pPr>
            <a:lvl7pPr marL="2742848" indent="0">
              <a:buNone/>
              <a:defRPr sz="900"/>
            </a:lvl7pPr>
            <a:lvl8pPr marL="3199989" indent="0">
              <a:buNone/>
              <a:defRPr sz="900"/>
            </a:lvl8pPr>
            <a:lvl9pPr marL="365713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12D032-819E-4F53-BAA4-79E3CC15F29A}" type="datetime1">
              <a:rPr lang="ru-RU" smtClean="0"/>
              <a:t>26.05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D174F9-AF5D-446A-A6FC-379D4B3E8A9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60220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124762"/>
            <a:ext cx="8229600" cy="500141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428" tIns="45714" rIns="91428" bIns="45714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A81C33-9FB4-40C3-951C-90AAB81DBE06}" type="datetime1">
              <a:rPr lang="ru-RU" smtClean="0"/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1857DE-3DAA-4881-AAF2-E1DC377679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78676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980730"/>
            <a:ext cx="2057400" cy="5145435"/>
          </a:xfrm>
          <a:prstGeom prst="rect">
            <a:avLst/>
          </a:prstGeom>
        </p:spPr>
        <p:txBody>
          <a:bodyPr vert="eaVert" lIns="91428" tIns="45714" rIns="91428" bIns="45714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980730"/>
            <a:ext cx="6019800" cy="514543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BCD692-B630-4F07-A387-DE0DDC4BAE59}" type="datetime1">
              <a:rPr lang="ru-RU" smtClean="0"/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807573-721D-4265-BB94-4A55FACD2FF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11478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396940" y="825395"/>
            <a:ext cx="8269784" cy="490786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4" name="Slide Number Placeholder 5"/>
          <p:cNvSpPr txBox="1">
            <a:spLocks/>
          </p:cNvSpPr>
          <p:nvPr/>
        </p:nvSpPr>
        <p:spPr>
          <a:xfrm>
            <a:off x="131763" y="6356350"/>
            <a:ext cx="2133600" cy="363538"/>
          </a:xfrm>
          <a:prstGeom prst="rect">
            <a:avLst/>
          </a:prstGeom>
        </p:spPr>
        <p:txBody>
          <a:bodyPr lIns="90883" tIns="45430" rIns="90883" bIns="45430" anchor="ctr"/>
          <a:lstStyle>
            <a:lvl1pPr algn="l">
              <a:defRPr/>
            </a:lvl1pPr>
          </a:lstStyle>
          <a:p>
            <a:pPr defTabSz="90875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 smtClean="0">
              <a:solidFill>
                <a:prstClr val="black">
                  <a:tint val="75000"/>
                </a:prstClr>
              </a:solidFill>
              <a:latin typeface="+mn-lt"/>
              <a:cs typeface="+mn-cs"/>
            </a:endParaRPr>
          </a:p>
        </p:txBody>
      </p:sp>
      <p:sp>
        <p:nvSpPr>
          <p:cNvPr id="5" name="Прямоугольник с одним скругленным углом 6"/>
          <p:cNvSpPr/>
          <p:nvPr/>
        </p:nvSpPr>
        <p:spPr bwMode="auto">
          <a:xfrm rot="10800000" flipH="1">
            <a:off x="0" y="-1588"/>
            <a:ext cx="8675688" cy="557213"/>
          </a:xfrm>
          <a:prstGeom prst="round1Rect">
            <a:avLst>
              <a:gd name="adj" fmla="val 50000"/>
            </a:avLst>
          </a:prstGeom>
          <a:gradFill>
            <a:gsLst>
              <a:gs pos="0">
                <a:srgbClr val="1D4576">
                  <a:alpha val="85000"/>
                </a:srgbClr>
              </a:gs>
              <a:gs pos="100000">
                <a:srgbClr val="0066CC">
                  <a:alpha val="75000"/>
                </a:srgbClr>
              </a:gs>
            </a:gsLst>
            <a:lin ang="16200000" scaled="1"/>
          </a:gradFill>
          <a:ln>
            <a:noFill/>
          </a:ln>
          <a:effectLst/>
        </p:spPr>
        <p:txBody>
          <a:bodyPr lIns="85585" tIns="42798" rIns="85585" bIns="42798"/>
          <a:lstStyle/>
          <a:p>
            <a:pPr defTabSz="855857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2300" dirty="0">
              <a:solidFill>
                <a:prstClr val="black"/>
              </a:solidFill>
              <a:latin typeface="Times" pitchFamily="18" charset="0"/>
              <a:cs typeface="+mn-cs"/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-546" y="-1470"/>
            <a:ext cx="8172946" cy="556164"/>
          </a:xfrm>
          <a:prstGeom prst="rect">
            <a:avLst/>
          </a:prstGeom>
        </p:spPr>
        <p:txBody>
          <a:bodyPr lIns="91434" tIns="45717" rIns="91434" bIns="45717"/>
          <a:lstStyle>
            <a:lvl1pPr>
              <a:lnSpc>
                <a:spcPct val="80000"/>
              </a:lnSpc>
              <a:defRPr sz="2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470900" y="6356350"/>
            <a:ext cx="43973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63C96C-1F7F-43F5-9DA4-D42E1923BEB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423510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36145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56" y="9161"/>
            <a:ext cx="7141569" cy="900469"/>
          </a:xfrm>
          <a:prstGeom prst="rect">
            <a:avLst/>
          </a:prstGeom>
        </p:spPr>
        <p:txBody>
          <a:bodyPr>
            <a:normAutofit/>
          </a:bodyPr>
          <a:lstStyle>
            <a:lvl1pPr marL="9207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440" tIns="45720" rIns="91440" bIns="45720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902E3CCE-C095-4280-AEAB-95E1F10EB46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823258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52"/>
            <a:ext cx="7772400" cy="121489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662568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1524000" y="2509838"/>
          <a:ext cx="6096000" cy="222408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19200"/>
                <a:gridCol w="1219200"/>
                <a:gridCol w="1219200"/>
                <a:gridCol w="1219200"/>
                <a:gridCol w="1219200"/>
              </a:tblGrid>
              <a:tr h="370681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Заголовок</a:t>
                      </a:r>
                      <a:endParaRPr lang="ru-RU" sz="160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T="45700" marB="45700" anchor="ctr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Заголовок</a:t>
                      </a:r>
                      <a:endParaRPr lang="ru-RU" sz="160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T="45700" marB="45700" anchor="ctr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Заголовок</a:t>
                      </a:r>
                      <a:endParaRPr lang="ru-RU" sz="160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T="45700" marB="45700" anchor="ctr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Заголовок</a:t>
                      </a:r>
                    </a:p>
                  </a:txBody>
                  <a:tcPr marT="45700" marB="45700" anchor="ctr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Заголовок</a:t>
                      </a:r>
                    </a:p>
                  </a:txBody>
                  <a:tcPr marT="45700" marB="45700" anchor="ctr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681"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1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2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3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4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681">
                <a:tc>
                  <a:txBody>
                    <a:bodyPr/>
                    <a:lstStyle/>
                    <a:p>
                      <a:endParaRPr lang="ru-RU" sz="1800"/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1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2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3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4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681">
                <a:tc>
                  <a:txBody>
                    <a:bodyPr/>
                    <a:lstStyle/>
                    <a:p>
                      <a:endParaRPr lang="ru-RU" sz="1800"/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1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2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3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4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681">
                <a:tc>
                  <a:txBody>
                    <a:bodyPr/>
                    <a:lstStyle/>
                    <a:p>
                      <a:endParaRPr lang="ru-RU" sz="1800"/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1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2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3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4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681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Всего: </a:t>
                      </a:r>
                      <a:endParaRPr lang="ru-RU" sz="1400" dirty="0"/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1</a:t>
                      </a:r>
                      <a:endParaRPr lang="ru-RU" sz="1400" dirty="0"/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2</a:t>
                      </a:r>
                      <a:endParaRPr lang="ru-RU" sz="1400" dirty="0"/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3</a:t>
                      </a:r>
                      <a:endParaRPr lang="ru-RU" sz="1400" dirty="0"/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4</a:t>
                      </a:r>
                      <a:endParaRPr lang="ru-RU" sz="1400" dirty="0"/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719666" y="274638"/>
            <a:ext cx="7967133" cy="1143000"/>
          </a:xfrm>
          <a:prstGeom prst="rect">
            <a:avLst/>
          </a:prstGeom>
        </p:spPr>
        <p:txBody>
          <a:bodyPr anchor="ctr"/>
          <a:lstStyle>
            <a:lvl1pPr>
              <a:defRPr lang="en-US" sz="2400" b="1" i="0" kern="1200" dirty="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350250" y="776288"/>
            <a:ext cx="793750" cy="52070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  <a:latin typeface="Franklin Gothic Demi" pitchFamily="34" charset="0"/>
                <a:cs typeface="+mn-cs"/>
              </a:defRPr>
            </a:lvl1pPr>
          </a:lstStyle>
          <a:p>
            <a:pPr>
              <a:defRPr/>
            </a:pPr>
            <a:fld id="{2579A5B6-4C75-42E6-8596-9637346EDE0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084476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052771"/>
            <a:ext cx="4038600" cy="5073427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052771"/>
            <a:ext cx="4038600" cy="5073427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0981" tIns="45480" rIns="90981" bIns="45480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8CB729-1B08-4A47-80C2-69526DDA413A}" type="datetime1">
              <a:rPr lang="ru-RU" smtClean="0"/>
              <a:t>26.05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3AA1FF-59C8-4BA4-9C50-2ECB3627A53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9880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052758"/>
            <a:ext cx="4040188" cy="72008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4879" indent="0">
              <a:buNone/>
              <a:defRPr sz="2000" b="1"/>
            </a:lvl2pPr>
            <a:lvl3pPr marL="909770" indent="0">
              <a:buNone/>
              <a:defRPr sz="1800" b="1"/>
            </a:lvl3pPr>
            <a:lvl4pPr marL="1364658" indent="0">
              <a:buNone/>
              <a:defRPr sz="1600" b="1"/>
            </a:lvl4pPr>
            <a:lvl5pPr marL="1819542" indent="0">
              <a:buNone/>
              <a:defRPr sz="1600" b="1"/>
            </a:lvl5pPr>
            <a:lvl6pPr marL="2274428" indent="0">
              <a:buNone/>
              <a:defRPr sz="1600" b="1"/>
            </a:lvl6pPr>
            <a:lvl7pPr marL="2729312" indent="0">
              <a:buNone/>
              <a:defRPr sz="1600" b="1"/>
            </a:lvl7pPr>
            <a:lvl8pPr marL="3184195" indent="0">
              <a:buNone/>
              <a:defRPr sz="1600" b="1"/>
            </a:lvl8pPr>
            <a:lvl9pPr marL="3639086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1" y="1916849"/>
            <a:ext cx="4040188" cy="4209331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4082" y="1052758"/>
            <a:ext cx="4041775" cy="72008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4879" indent="0">
              <a:buNone/>
              <a:defRPr sz="2000" b="1"/>
            </a:lvl2pPr>
            <a:lvl3pPr marL="909770" indent="0">
              <a:buNone/>
              <a:defRPr sz="1800" b="1"/>
            </a:lvl3pPr>
            <a:lvl4pPr marL="1364658" indent="0">
              <a:buNone/>
              <a:defRPr sz="1600" b="1"/>
            </a:lvl4pPr>
            <a:lvl5pPr marL="1819542" indent="0">
              <a:buNone/>
              <a:defRPr sz="1600" b="1"/>
            </a:lvl5pPr>
            <a:lvl6pPr marL="2274428" indent="0">
              <a:buNone/>
              <a:defRPr sz="1600" b="1"/>
            </a:lvl6pPr>
            <a:lvl7pPr marL="2729312" indent="0">
              <a:buNone/>
              <a:defRPr sz="1600" b="1"/>
            </a:lvl7pPr>
            <a:lvl8pPr marL="3184195" indent="0">
              <a:buNone/>
              <a:defRPr sz="1600" b="1"/>
            </a:lvl8pPr>
            <a:lvl9pPr marL="3639086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105" y="1916849"/>
            <a:ext cx="4041775" cy="4209331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0981" tIns="45480" rIns="90981" bIns="45480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38C367-28B0-430A-BAA7-7FCFD0BB7E3D}" type="datetime1">
              <a:rPr lang="ru-RU" smtClean="0"/>
              <a:t>26.05.2015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56C7FA-1172-452A-958F-88F20790B29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97818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0981" tIns="45480" rIns="90981" bIns="45480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008C69-28EE-4A33-B70B-3C9BBE0D53DB}" type="datetime1">
              <a:rPr lang="ru-RU" smtClean="0"/>
              <a:t>26.05.2015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C29960-D13E-4002-8A0B-B7DAD92F501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372518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124775"/>
            <a:ext cx="8229600" cy="500141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0981" tIns="45480" rIns="90981" bIns="45480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0846E3-1B23-4976-9F5B-FBFCF932DADF}" type="datetime1">
              <a:rPr lang="ru-RU" smtClean="0"/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F5965F-FB90-49BD-AABC-2898379650B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91757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396946" y="825399"/>
            <a:ext cx="8269784" cy="490786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131763" y="6356350"/>
            <a:ext cx="2133600" cy="363538"/>
          </a:xfrm>
          <a:prstGeom prst="rect">
            <a:avLst/>
          </a:prstGeom>
        </p:spPr>
        <p:txBody>
          <a:bodyPr lIns="90438" tIns="45213" rIns="90438" bIns="45213" anchor="ctr"/>
          <a:lstStyle>
            <a:lvl1pPr algn="l">
              <a:defRPr/>
            </a:lvl1pPr>
          </a:lstStyle>
          <a:p>
            <a:pPr defTabSz="904273">
              <a:defRPr/>
            </a:pPr>
            <a:endParaRPr lang="en-US" sz="1200" dirty="0" smtClean="0">
              <a:solidFill>
                <a:prstClr val="black">
                  <a:tint val="75000"/>
                </a:prstClr>
              </a:solidFill>
              <a:latin typeface="+mn-lt"/>
              <a:cs typeface="+mn-cs"/>
            </a:endParaRPr>
          </a:p>
        </p:txBody>
      </p:sp>
      <p:sp>
        <p:nvSpPr>
          <p:cNvPr id="5" name="Прямоугольник с одним скругленным углом 6"/>
          <p:cNvSpPr/>
          <p:nvPr userDrawn="1"/>
        </p:nvSpPr>
        <p:spPr bwMode="auto">
          <a:xfrm rot="10800000" flipH="1">
            <a:off x="0" y="-1588"/>
            <a:ext cx="8675688" cy="557213"/>
          </a:xfrm>
          <a:prstGeom prst="round1Rect">
            <a:avLst>
              <a:gd name="adj" fmla="val 50000"/>
            </a:avLst>
          </a:prstGeom>
          <a:gradFill>
            <a:gsLst>
              <a:gs pos="0">
                <a:srgbClr val="1D4576">
                  <a:alpha val="85000"/>
                </a:srgbClr>
              </a:gs>
              <a:gs pos="100000">
                <a:srgbClr val="0066CC">
                  <a:alpha val="75000"/>
                </a:srgbClr>
              </a:gs>
            </a:gsLst>
            <a:lin ang="16200000" scaled="1"/>
          </a:gradFill>
          <a:ln>
            <a:noFill/>
          </a:ln>
          <a:effectLst/>
        </p:spPr>
        <p:txBody>
          <a:bodyPr lIns="85178" tIns="42595" rIns="85178" bIns="42595"/>
          <a:lstStyle/>
          <a:p>
            <a:pPr defTabSz="851639" eaLnBrk="0" hangingPunct="0">
              <a:defRPr/>
            </a:pPr>
            <a:endParaRPr lang="ru-RU" sz="2300">
              <a:solidFill>
                <a:prstClr val="black"/>
              </a:solidFill>
              <a:latin typeface="Times" pitchFamily="18" charset="0"/>
              <a:cs typeface="+mn-cs"/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-539" y="-1470"/>
            <a:ext cx="8172946" cy="556164"/>
          </a:xfrm>
          <a:prstGeom prst="rect">
            <a:avLst/>
          </a:prstGeom>
        </p:spPr>
        <p:txBody>
          <a:bodyPr lIns="90986" tIns="45483" rIns="90986" bIns="45483"/>
          <a:lstStyle>
            <a:lvl1pPr>
              <a:lnSpc>
                <a:spcPct val="80000"/>
              </a:lnSpc>
              <a:defRPr sz="2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470900" y="6356350"/>
            <a:ext cx="43973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A75E73-6420-479E-8117-C8E1608CA1B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244833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01" tIns="45488" rIns="91001" bIns="4548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91324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44" y="9171"/>
            <a:ext cx="7141569" cy="900469"/>
          </a:xfrm>
          <a:prstGeom prst="rect">
            <a:avLst/>
          </a:prstGeom>
        </p:spPr>
        <p:txBody>
          <a:bodyPr lIns="91001" tIns="45488" rIns="91001" bIns="45488">
            <a:normAutofit/>
          </a:bodyPr>
          <a:lstStyle>
            <a:lvl1pPr marL="9162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01" tIns="45488" rIns="91001" bIns="4548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D506C23-2202-417F-A5C6-E6921672233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18726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01" tIns="45488" rIns="91001" bIns="45488" anchor="ctr"/>
          <a:lstStyle/>
          <a:p>
            <a:pPr algn="ctr" defTabSz="909944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60"/>
            <a:ext cx="7772400" cy="1214896"/>
          </a:xfrm>
          <a:prstGeom prst="rect">
            <a:avLst/>
          </a:prstGeom>
        </p:spPr>
        <p:txBody>
          <a:bodyPr lIns="91001" tIns="45488" rIns="91001" bIns="4548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945903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555" tIns="40776" rIns="81555" bIns="40776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1644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01" tIns="45488" rIns="91001" bIns="4548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56513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 userDrawn="1"/>
        </p:nvSpPr>
        <p:spPr>
          <a:xfrm>
            <a:off x="722313" y="274638"/>
            <a:ext cx="7772400" cy="1143000"/>
          </a:xfrm>
          <a:prstGeom prst="rect">
            <a:avLst/>
          </a:prstGeom>
        </p:spPr>
        <p:txBody>
          <a:bodyPr anchor="ctr"/>
          <a:lstStyle>
            <a:lvl1pPr algn="ctr" defTabSz="457200" rtl="0" eaLnBrk="1" latinLnBrk="0" hangingPunct="1">
              <a:spcBef>
                <a:spcPct val="0"/>
              </a:spcBef>
              <a:buNone/>
              <a:defRPr lang="en-US" sz="2400" kern="1200" dirty="0">
                <a:solidFill>
                  <a:srgbClr val="FFFFFF"/>
                </a:solidFill>
                <a:latin typeface="FranklinGothicDemiITC"/>
                <a:ea typeface="+mn-ea"/>
                <a:cs typeface="FranklinGothicDemiITC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smtClean="0">
                <a:latin typeface="Arial"/>
                <a:cs typeface="Arial"/>
              </a:rPr>
              <a:t>CLICK TO EDIT MASTER TITLE STYLE</a:t>
            </a:r>
            <a:endParaRPr>
              <a:latin typeface="Arial"/>
              <a:cs typeface="Arial"/>
            </a:endParaRPr>
          </a:p>
        </p:txBody>
      </p:sp>
      <p:sp>
        <p:nvSpPr>
          <p:cNvPr id="5" name="Номер слайда 4"/>
          <p:cNvSpPr txBox="1">
            <a:spLocks/>
          </p:cNvSpPr>
          <p:nvPr userDrawn="1"/>
        </p:nvSpPr>
        <p:spPr>
          <a:xfrm>
            <a:off x="8382000" y="808038"/>
            <a:ext cx="762000" cy="50323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457200" rtl="0" eaLnBrk="1" latinLnBrk="0" hangingPunct="1">
              <a:defRPr sz="1600" kern="1200">
                <a:solidFill>
                  <a:schemeClr val="bg1"/>
                </a:solidFill>
                <a:latin typeface="Franklin Gothic Demi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F6A618B5-B288-4700-AC7B-36FD14B46DDB}" type="slidenum">
              <a:rPr lang="ru-RU" smtClean="0"/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0" y="0"/>
            <a:ext cx="1706563" cy="1293813"/>
          </a:xfrm>
          <a:prstGeom prst="rect">
            <a:avLst/>
          </a:prstGeom>
          <a:solidFill>
            <a:srgbClr val="252A5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85800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 defTabSz="457200" rtl="0" eaLnBrk="1" latinLnBrk="0" hangingPunct="1">
              <a:spcBef>
                <a:spcPct val="20000"/>
              </a:spcBef>
              <a:buFont typeface="Arial"/>
              <a:defRPr lang="ru-RU" sz="3600" kern="1200" dirty="0">
                <a:solidFill>
                  <a:srgbClr val="192B55"/>
                </a:solidFill>
                <a:latin typeface="FranklinGothicDemiITC"/>
                <a:ea typeface="+mn-ea"/>
                <a:cs typeface="FranklinGothicDemiITC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099685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44" y="9171"/>
            <a:ext cx="7141569" cy="900469"/>
          </a:xfrm>
          <a:prstGeom prst="rect">
            <a:avLst/>
          </a:prstGeom>
        </p:spPr>
        <p:txBody>
          <a:bodyPr lIns="91001" tIns="45488" rIns="91001" bIns="45488">
            <a:normAutofit/>
          </a:bodyPr>
          <a:lstStyle>
            <a:lvl1pPr marL="9162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01" tIns="45488" rIns="91001" bIns="4548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DC03F10E-ABBE-42B4-81D6-F99097293B3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18202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01" tIns="45488" rIns="91001" bIns="45488" anchor="ctr"/>
          <a:lstStyle/>
          <a:p>
            <a:pPr algn="ctr" defTabSz="909944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60"/>
            <a:ext cx="7772400" cy="1214896"/>
          </a:xfrm>
          <a:prstGeom prst="rect">
            <a:avLst/>
          </a:prstGeom>
        </p:spPr>
        <p:txBody>
          <a:bodyPr lIns="91001" tIns="45488" rIns="91001" bIns="4548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151498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555" tIns="40776" rIns="81555" bIns="40776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470307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01" tIns="45488" rIns="91001" bIns="4548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658105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44" y="9171"/>
            <a:ext cx="7141569" cy="900469"/>
          </a:xfrm>
          <a:prstGeom prst="rect">
            <a:avLst/>
          </a:prstGeom>
        </p:spPr>
        <p:txBody>
          <a:bodyPr lIns="91001" tIns="45488" rIns="91001" bIns="45488">
            <a:normAutofit/>
          </a:bodyPr>
          <a:lstStyle>
            <a:lvl1pPr marL="9162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01" tIns="45488" rIns="91001" bIns="4548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4ACA00D5-2651-43AF-B7BA-50B1A9967A9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91073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01" tIns="45488" rIns="91001" bIns="45488" anchor="ctr"/>
          <a:lstStyle/>
          <a:p>
            <a:pPr algn="ctr" defTabSz="909944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60"/>
            <a:ext cx="7772400" cy="1214896"/>
          </a:xfrm>
          <a:prstGeom prst="rect">
            <a:avLst/>
          </a:prstGeom>
        </p:spPr>
        <p:txBody>
          <a:bodyPr lIns="91001" tIns="45488" rIns="91001" bIns="4548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538468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555" tIns="40776" rIns="81555" bIns="40776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762458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01" tIns="45488" rIns="91001" bIns="4548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8626580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44" y="9171"/>
            <a:ext cx="7141569" cy="900469"/>
          </a:xfrm>
          <a:prstGeom prst="rect">
            <a:avLst/>
          </a:prstGeom>
        </p:spPr>
        <p:txBody>
          <a:bodyPr lIns="91001" tIns="45488" rIns="91001" bIns="45488">
            <a:normAutofit/>
          </a:bodyPr>
          <a:lstStyle>
            <a:lvl1pPr marL="9162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01" tIns="45488" rIns="91001" bIns="4548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406180C1-2BC7-43A5-A9D0-E7E03F39045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797283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01" tIns="45488" rIns="91001" bIns="45488" anchor="ctr"/>
          <a:lstStyle/>
          <a:p>
            <a:pPr algn="ctr" defTabSz="909944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60"/>
            <a:ext cx="7772400" cy="1214896"/>
          </a:xfrm>
          <a:prstGeom prst="rect">
            <a:avLst/>
          </a:prstGeom>
        </p:spPr>
        <p:txBody>
          <a:bodyPr lIns="91001" tIns="45488" rIns="91001" bIns="4548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457764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OB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 txBox="1">
            <a:spLocks/>
          </p:cNvSpPr>
          <p:nvPr userDrawn="1"/>
        </p:nvSpPr>
        <p:spPr>
          <a:xfrm>
            <a:off x="8382000" y="808038"/>
            <a:ext cx="762000" cy="50323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457200" rtl="0" eaLnBrk="1" latinLnBrk="0" hangingPunct="1">
              <a:defRPr sz="1600" kern="1200">
                <a:solidFill>
                  <a:schemeClr val="bg1"/>
                </a:solidFill>
                <a:latin typeface="Franklin Gothic Demi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FDFC360A-04B3-48E8-BA19-BD5D4E232388}" type="slidenum">
              <a:rPr lang="ru-RU" smtClean="0"/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0" y="0"/>
            <a:ext cx="1706563" cy="1293813"/>
          </a:xfrm>
          <a:prstGeom prst="rect">
            <a:avLst/>
          </a:prstGeom>
          <a:solidFill>
            <a:srgbClr val="252A5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20000"/>
              </a:spcBef>
              <a:buFont typeface="Arial"/>
              <a:defRPr lang="en-US" sz="1800" kern="1200" dirty="0" smtClean="0">
                <a:solidFill>
                  <a:srgbClr val="192B55"/>
                </a:solidFill>
                <a:latin typeface="FranklinGothicDemiITC"/>
                <a:ea typeface="+mn-ea"/>
                <a:cs typeface="FranklinGothicDemiITC"/>
              </a:defRPr>
            </a:lvl1pPr>
            <a:lvl2pPr algn="l" defTabSz="457200" rtl="0" eaLnBrk="1" latinLnBrk="0" hangingPunct="1">
              <a:spcBef>
                <a:spcPct val="20000"/>
              </a:spcBef>
              <a:buFont typeface="Arial"/>
              <a:defRPr lang="en-US" sz="1800" kern="1200" dirty="0" smtClean="0">
                <a:solidFill>
                  <a:srgbClr val="192B55"/>
                </a:solidFill>
                <a:latin typeface="FranklinGothicDemiITC"/>
                <a:ea typeface="+mn-ea"/>
                <a:cs typeface="FranklinGothicDemiITC"/>
              </a:defRPr>
            </a:lvl2pPr>
            <a:lvl3pPr algn="l" defTabSz="457200" rtl="0" eaLnBrk="1" latinLnBrk="0" hangingPunct="1">
              <a:spcBef>
                <a:spcPct val="20000"/>
              </a:spcBef>
              <a:buFont typeface="Arial"/>
              <a:defRPr lang="en-US" sz="1800" kern="1200" dirty="0" smtClean="0">
                <a:solidFill>
                  <a:srgbClr val="192B55"/>
                </a:solidFill>
                <a:latin typeface="FranklinGothicDemiITC"/>
                <a:ea typeface="+mn-ea"/>
                <a:cs typeface="FranklinGothicDemiITC"/>
              </a:defRPr>
            </a:lvl3pPr>
            <a:lvl4pPr algn="l" defTabSz="457200" rtl="0" eaLnBrk="1" latinLnBrk="0" hangingPunct="1">
              <a:spcBef>
                <a:spcPct val="20000"/>
              </a:spcBef>
              <a:buFont typeface="Arial"/>
              <a:defRPr lang="en-US" sz="1800" kern="1200" dirty="0" smtClean="0">
                <a:solidFill>
                  <a:srgbClr val="192B55"/>
                </a:solidFill>
                <a:latin typeface="FranklinGothicDemiITC"/>
                <a:ea typeface="+mn-ea"/>
                <a:cs typeface="FranklinGothicDemiITC"/>
              </a:defRPr>
            </a:lvl4pPr>
            <a:lvl5pPr algn="l" defTabSz="457200" rtl="0" eaLnBrk="1" latinLnBrk="0" hangingPunct="1">
              <a:spcBef>
                <a:spcPct val="20000"/>
              </a:spcBef>
              <a:buFont typeface="Arial"/>
              <a:defRPr lang="ru-RU" sz="1800" kern="1200" dirty="0">
                <a:solidFill>
                  <a:srgbClr val="192B55"/>
                </a:solidFill>
                <a:latin typeface="FranklinGothicDemiITC"/>
                <a:ea typeface="+mn-ea"/>
                <a:cs typeface="FranklinGothicDemiITC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20000"/>
              </a:spcBef>
              <a:buFont typeface="Arial"/>
              <a:defRPr lang="en-US" sz="1800" kern="1200" dirty="0" smtClean="0">
                <a:solidFill>
                  <a:srgbClr val="192B55"/>
                </a:solidFill>
                <a:latin typeface="FranklinGothicDemiITC"/>
                <a:ea typeface="+mn-ea"/>
                <a:cs typeface="FranklinGothicDemiITC"/>
              </a:defRPr>
            </a:lvl1pPr>
            <a:lvl2pPr algn="l" defTabSz="457200" rtl="0" eaLnBrk="1" latinLnBrk="0" hangingPunct="1">
              <a:spcBef>
                <a:spcPct val="20000"/>
              </a:spcBef>
              <a:buFont typeface="Arial"/>
              <a:defRPr lang="en-US" sz="1800" kern="1200" dirty="0" smtClean="0">
                <a:solidFill>
                  <a:srgbClr val="192B55"/>
                </a:solidFill>
                <a:latin typeface="FranklinGothicDemiITC"/>
                <a:ea typeface="+mn-ea"/>
                <a:cs typeface="FranklinGothicDemiITC"/>
              </a:defRPr>
            </a:lvl2pPr>
            <a:lvl3pPr algn="l" defTabSz="457200" rtl="0" eaLnBrk="1" latinLnBrk="0" hangingPunct="1">
              <a:spcBef>
                <a:spcPct val="20000"/>
              </a:spcBef>
              <a:buFont typeface="Arial"/>
              <a:defRPr lang="en-US" sz="1800" kern="1200" dirty="0" smtClean="0">
                <a:solidFill>
                  <a:srgbClr val="192B55"/>
                </a:solidFill>
                <a:latin typeface="FranklinGothicDemiITC"/>
                <a:ea typeface="+mn-ea"/>
                <a:cs typeface="FranklinGothicDemiITC"/>
              </a:defRPr>
            </a:lvl3pPr>
            <a:lvl4pPr algn="l" defTabSz="457200" rtl="0" eaLnBrk="1" latinLnBrk="0" hangingPunct="1">
              <a:spcBef>
                <a:spcPct val="20000"/>
              </a:spcBef>
              <a:buFont typeface="Arial"/>
              <a:defRPr lang="en-US" sz="1800" kern="1200" dirty="0" smtClean="0">
                <a:solidFill>
                  <a:srgbClr val="192B55"/>
                </a:solidFill>
                <a:latin typeface="FranklinGothicDemiITC"/>
                <a:ea typeface="+mn-ea"/>
                <a:cs typeface="FranklinGothicDemiITC"/>
              </a:defRPr>
            </a:lvl4pPr>
            <a:lvl5pPr algn="l" defTabSz="457200" rtl="0" eaLnBrk="1" latinLnBrk="0" hangingPunct="1">
              <a:spcBef>
                <a:spcPct val="20000"/>
              </a:spcBef>
              <a:buFont typeface="Arial"/>
              <a:defRPr lang="ru-RU" sz="1800" kern="1200" dirty="0">
                <a:solidFill>
                  <a:srgbClr val="192B55"/>
                </a:solidFill>
                <a:latin typeface="FranklinGothicDemiITC"/>
                <a:ea typeface="+mn-ea"/>
                <a:cs typeface="FranklinGothicDemiITC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 lang="en-US" sz="2400" kern="1200" dirty="0">
                <a:solidFill>
                  <a:srgbClr val="FFFFFF"/>
                </a:solidFill>
                <a:latin typeface="Franklin Gothic Demi" pitchFamily="34" charset="0"/>
                <a:ea typeface="+mn-ea"/>
                <a:cs typeface="Franklin Gothic Dem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21670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555" tIns="40776" rIns="81555" bIns="40776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260535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01" tIns="45488" rIns="91001" bIns="4548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747147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44" y="9171"/>
            <a:ext cx="7141569" cy="900469"/>
          </a:xfrm>
          <a:prstGeom prst="rect">
            <a:avLst/>
          </a:prstGeom>
        </p:spPr>
        <p:txBody>
          <a:bodyPr lIns="91001" tIns="45488" rIns="91001" bIns="45488">
            <a:normAutofit/>
          </a:bodyPr>
          <a:lstStyle>
            <a:lvl1pPr marL="9162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01" tIns="45488" rIns="91001" bIns="4548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37BD1A88-4CBD-41C6-B5A2-259F2FC4E19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520245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01" tIns="45488" rIns="91001" bIns="45488" anchor="ctr"/>
          <a:lstStyle/>
          <a:p>
            <a:pPr algn="ctr" defTabSz="909944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60"/>
            <a:ext cx="7772400" cy="1214896"/>
          </a:xfrm>
          <a:prstGeom prst="rect">
            <a:avLst/>
          </a:prstGeom>
        </p:spPr>
        <p:txBody>
          <a:bodyPr lIns="91001" tIns="45488" rIns="91001" bIns="4548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51039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555" tIns="40776" rIns="81555" bIns="40776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822192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01" tIns="45488" rIns="91001" bIns="4548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206242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44" y="9171"/>
            <a:ext cx="7141569" cy="900469"/>
          </a:xfrm>
          <a:prstGeom prst="rect">
            <a:avLst/>
          </a:prstGeom>
        </p:spPr>
        <p:txBody>
          <a:bodyPr lIns="91001" tIns="45488" rIns="91001" bIns="45488">
            <a:normAutofit/>
          </a:bodyPr>
          <a:lstStyle>
            <a:lvl1pPr marL="9162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01" tIns="45488" rIns="91001" bIns="4548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EAADF3BD-B4AF-4AC3-B5ED-43CE8878393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410991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01" tIns="45488" rIns="91001" bIns="45488" anchor="ctr"/>
          <a:lstStyle/>
          <a:p>
            <a:pPr algn="ctr" defTabSz="909944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60"/>
            <a:ext cx="7772400" cy="1214896"/>
          </a:xfrm>
          <a:prstGeom prst="rect">
            <a:avLst/>
          </a:prstGeom>
        </p:spPr>
        <p:txBody>
          <a:bodyPr lIns="91001" tIns="45488" rIns="91001" bIns="4548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9074943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555" tIns="40776" rIns="81555" bIns="40776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380288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052771"/>
            <a:ext cx="4038600" cy="5073427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052771"/>
            <a:ext cx="4038600" cy="5073427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044" tIns="45512" rIns="91044" bIns="45512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025AA8-F339-47C4-991D-462EC997B089}" type="datetime1">
              <a:rPr lang="ru-RU" smtClean="0"/>
              <a:t>26.05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A59D97-2FB4-4A8E-B409-F28110B35DA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196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4"/>
          <p:cNvSpPr txBox="1">
            <a:spLocks/>
          </p:cNvSpPr>
          <p:nvPr userDrawn="1"/>
        </p:nvSpPr>
        <p:spPr>
          <a:xfrm>
            <a:off x="8382000" y="808038"/>
            <a:ext cx="762000" cy="50323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457200" rtl="0" eaLnBrk="1" latinLnBrk="0" hangingPunct="1">
              <a:defRPr sz="1600" kern="1200">
                <a:solidFill>
                  <a:schemeClr val="bg1"/>
                </a:solidFill>
                <a:latin typeface="Franklin Gothic Demi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8C0DC30C-3A30-431F-AA75-8E4F344E9452}" type="slidenum">
              <a:rPr lang="ru-RU" smtClean="0"/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706563" cy="1293813"/>
          </a:xfrm>
          <a:prstGeom prst="rect">
            <a:avLst/>
          </a:prstGeom>
          <a:solidFill>
            <a:srgbClr val="252A5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 lang="en-US" sz="2400" kern="1200" baseline="0" dirty="0">
                <a:solidFill>
                  <a:srgbClr val="FFFFFF"/>
                </a:solidFill>
                <a:latin typeface="Franklin Gothic Demi" pitchFamily="34" charset="0"/>
                <a:ea typeface="+mn-ea"/>
                <a:cs typeface="FranklinGothicDemiITC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004314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052758"/>
            <a:ext cx="4040188" cy="72008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5196" indent="0">
              <a:buNone/>
              <a:defRPr sz="2000" b="1"/>
            </a:lvl2pPr>
            <a:lvl3pPr marL="910406" indent="0">
              <a:buNone/>
              <a:defRPr sz="1800" b="1"/>
            </a:lvl3pPr>
            <a:lvl4pPr marL="1365608" indent="0">
              <a:buNone/>
              <a:defRPr sz="1600" b="1"/>
            </a:lvl4pPr>
            <a:lvl5pPr marL="1820812" indent="0">
              <a:buNone/>
              <a:defRPr sz="1600" b="1"/>
            </a:lvl5pPr>
            <a:lvl6pPr marL="2276011" indent="0">
              <a:buNone/>
              <a:defRPr sz="1600" b="1"/>
            </a:lvl6pPr>
            <a:lvl7pPr marL="2731217" indent="0">
              <a:buNone/>
              <a:defRPr sz="1600" b="1"/>
            </a:lvl7pPr>
            <a:lvl8pPr marL="3186419" indent="0">
              <a:buNone/>
              <a:defRPr sz="1600" b="1"/>
            </a:lvl8pPr>
            <a:lvl9pPr marL="364162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1" y="1916849"/>
            <a:ext cx="4040188" cy="4209331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4076" y="1052758"/>
            <a:ext cx="4041775" cy="72008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5196" indent="0">
              <a:buNone/>
              <a:defRPr sz="2000" b="1"/>
            </a:lvl2pPr>
            <a:lvl3pPr marL="910406" indent="0">
              <a:buNone/>
              <a:defRPr sz="1800" b="1"/>
            </a:lvl3pPr>
            <a:lvl4pPr marL="1365608" indent="0">
              <a:buNone/>
              <a:defRPr sz="1600" b="1"/>
            </a:lvl4pPr>
            <a:lvl5pPr marL="1820812" indent="0">
              <a:buNone/>
              <a:defRPr sz="1600" b="1"/>
            </a:lvl5pPr>
            <a:lvl6pPr marL="2276011" indent="0">
              <a:buNone/>
              <a:defRPr sz="1600" b="1"/>
            </a:lvl6pPr>
            <a:lvl7pPr marL="2731217" indent="0">
              <a:buNone/>
              <a:defRPr sz="1600" b="1"/>
            </a:lvl7pPr>
            <a:lvl8pPr marL="3186419" indent="0">
              <a:buNone/>
              <a:defRPr sz="1600" b="1"/>
            </a:lvl8pPr>
            <a:lvl9pPr marL="364162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95" y="1916849"/>
            <a:ext cx="4041775" cy="4209331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044" tIns="45512" rIns="91044" bIns="45512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36C1D1-03E5-400E-9EFB-BC2896D7BBA9}" type="datetime1">
              <a:rPr lang="ru-RU" smtClean="0"/>
              <a:t>26.05.2015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4AE967-A981-41D8-B1BF-1A604A94067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413004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044" tIns="45512" rIns="91044" bIns="45512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3EE0FF-1BFF-4ADE-91C9-A6976D6B6857}" type="datetime1">
              <a:rPr lang="ru-RU" smtClean="0"/>
              <a:t>26.05.2015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94271A-0910-4F93-81C6-713954798DF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877313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124775"/>
            <a:ext cx="8229600" cy="500141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044" tIns="45512" rIns="91044" bIns="45512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EEE45A-DA64-427C-8170-9F8ACA93D8CA}" type="datetime1">
              <a:rPr lang="ru-RU" smtClean="0"/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308A98-EAA7-42AC-8E3B-3E4E7EC4FF5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584304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395536" y="825399"/>
            <a:ext cx="8271186" cy="490786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131763" y="6356350"/>
            <a:ext cx="2133600" cy="365125"/>
          </a:xfrm>
          <a:prstGeom prst="rect">
            <a:avLst/>
          </a:prstGeom>
        </p:spPr>
        <p:txBody>
          <a:bodyPr lIns="90501" tIns="45246" rIns="90501" bIns="45246" anchor="ctr"/>
          <a:lstStyle>
            <a:lvl1pPr algn="l">
              <a:defRPr/>
            </a:lvl1pPr>
          </a:lstStyle>
          <a:p>
            <a:pPr defTabSz="904904">
              <a:defRPr/>
            </a:pPr>
            <a:endParaRPr lang="en-US" sz="1200" dirty="0" smtClean="0">
              <a:solidFill>
                <a:prstClr val="black">
                  <a:tint val="75000"/>
                </a:prstClr>
              </a:solidFill>
              <a:latin typeface="+mn-lt"/>
              <a:cs typeface="+mn-cs"/>
            </a:endParaRPr>
          </a:p>
        </p:txBody>
      </p:sp>
      <p:sp>
        <p:nvSpPr>
          <p:cNvPr id="5" name="Прямоугольник с одним скругленным углом 4"/>
          <p:cNvSpPr/>
          <p:nvPr userDrawn="1"/>
        </p:nvSpPr>
        <p:spPr bwMode="auto">
          <a:xfrm rot="10800000" flipH="1">
            <a:off x="0" y="-1588"/>
            <a:ext cx="8675688" cy="555626"/>
          </a:xfrm>
          <a:prstGeom prst="round1Rect">
            <a:avLst>
              <a:gd name="adj" fmla="val 50000"/>
            </a:avLst>
          </a:prstGeom>
          <a:gradFill>
            <a:gsLst>
              <a:gs pos="0">
                <a:srgbClr val="1D4576">
                  <a:alpha val="85000"/>
                </a:srgbClr>
              </a:gs>
              <a:gs pos="100000">
                <a:srgbClr val="0066CC">
                  <a:alpha val="75000"/>
                </a:srgbClr>
              </a:gs>
            </a:gsLst>
            <a:lin ang="16200000" scaled="1"/>
          </a:gradFill>
          <a:ln>
            <a:noFill/>
          </a:ln>
          <a:effectLst/>
        </p:spPr>
        <p:txBody>
          <a:bodyPr lIns="85238" tIns="42625" rIns="85238" bIns="42625"/>
          <a:lstStyle/>
          <a:p>
            <a:pPr defTabSz="852232" eaLnBrk="0" hangingPunct="0">
              <a:defRPr/>
            </a:pPr>
            <a:endParaRPr lang="ru-RU" sz="2300" dirty="0">
              <a:solidFill>
                <a:prstClr val="black"/>
              </a:solidFill>
              <a:latin typeface="Times" pitchFamily="18" charset="0"/>
              <a:cs typeface="+mn-cs"/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-540" y="-1470"/>
            <a:ext cx="8172946" cy="556164"/>
          </a:xfrm>
          <a:prstGeom prst="rect">
            <a:avLst/>
          </a:prstGeom>
        </p:spPr>
        <p:txBody>
          <a:bodyPr lIns="91052" tIns="45515" rIns="91052" bIns="45515"/>
          <a:lstStyle>
            <a:lvl1pPr>
              <a:lnSpc>
                <a:spcPct val="80000"/>
              </a:lnSpc>
              <a:defRPr sz="2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470900" y="6356350"/>
            <a:ext cx="43973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536F12-7A6E-424F-9CD5-6729AC9B912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0008446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58" tIns="45518" rIns="91058" bIns="4551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576704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56" y="9161"/>
            <a:ext cx="7141569" cy="900469"/>
          </a:xfrm>
          <a:prstGeom prst="rect">
            <a:avLst/>
          </a:prstGeom>
        </p:spPr>
        <p:txBody>
          <a:bodyPr lIns="91058" tIns="45518" rIns="91058" bIns="45518">
            <a:normAutofit/>
          </a:bodyPr>
          <a:lstStyle>
            <a:lvl1pPr marL="91682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58" tIns="45518" rIns="91058" bIns="4551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0EAAC458-3B97-4527-B472-4962C96CD5C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934371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58" tIns="45518" rIns="91058" bIns="45518" anchor="ctr"/>
          <a:lstStyle/>
          <a:p>
            <a:pPr algn="ctr" defTabSz="910523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55"/>
            <a:ext cx="7772400" cy="1214896"/>
          </a:xfrm>
          <a:prstGeom prst="rect">
            <a:avLst/>
          </a:prstGeom>
        </p:spPr>
        <p:txBody>
          <a:bodyPr lIns="91058" tIns="45518" rIns="91058" bIns="4551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499078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607" tIns="40802" rIns="81607" bIns="40802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623929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58" tIns="45518" rIns="91058" bIns="4551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4039309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56" y="9161"/>
            <a:ext cx="7141569" cy="900469"/>
          </a:xfrm>
          <a:prstGeom prst="rect">
            <a:avLst/>
          </a:prstGeom>
        </p:spPr>
        <p:txBody>
          <a:bodyPr lIns="91058" tIns="45518" rIns="91058" bIns="45518">
            <a:normAutofit/>
          </a:bodyPr>
          <a:lstStyle>
            <a:lvl1pPr marL="91682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58" tIns="45518" rIns="91058" bIns="4551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7BB2965E-67C7-41BA-B180-820FE7415CF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02652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150813" y="17463"/>
            <a:ext cx="1704975" cy="1293812"/>
          </a:xfrm>
          <a:prstGeom prst="rect">
            <a:avLst/>
          </a:prstGeom>
          <a:solidFill>
            <a:srgbClr val="252A5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04850" y="274638"/>
            <a:ext cx="7981950" cy="1143000"/>
          </a:xfrm>
          <a:prstGeom prst="rect">
            <a:avLst/>
          </a:prstGeom>
        </p:spPr>
        <p:txBody>
          <a:bodyPr anchor="ctr"/>
          <a:lstStyle>
            <a:lvl1pPr>
              <a:defRPr lang="en-US" sz="2400" b="1" i="0" kern="1200" dirty="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382000" y="808038"/>
            <a:ext cx="762000" cy="50323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  <a:latin typeface="Franklin Gothic Demi" pitchFamily="34" charset="0"/>
                <a:cs typeface="+mn-cs"/>
              </a:defRPr>
            </a:lvl1pPr>
          </a:lstStyle>
          <a:p>
            <a:pPr>
              <a:defRPr/>
            </a:pPr>
            <a:fld id="{9428DB18-F928-4812-845C-786065A6CEC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4068387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58" tIns="45518" rIns="91058" bIns="45518" anchor="ctr"/>
          <a:lstStyle/>
          <a:p>
            <a:pPr algn="ctr" defTabSz="910523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55"/>
            <a:ext cx="7772400" cy="1214896"/>
          </a:xfrm>
          <a:prstGeom prst="rect">
            <a:avLst/>
          </a:prstGeom>
        </p:spPr>
        <p:txBody>
          <a:bodyPr lIns="91058" tIns="45518" rIns="91058" bIns="4551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227443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150813" y="17463"/>
            <a:ext cx="1704975" cy="1293812"/>
          </a:xfrm>
          <a:prstGeom prst="rect">
            <a:avLst/>
          </a:prstGeom>
          <a:solidFill>
            <a:srgbClr val="252A5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04850" y="274638"/>
            <a:ext cx="7981950" cy="1143000"/>
          </a:xfrm>
          <a:prstGeom prst="rect">
            <a:avLst/>
          </a:prstGeom>
        </p:spPr>
        <p:txBody>
          <a:bodyPr anchor="ctr"/>
          <a:lstStyle>
            <a:lvl1pPr>
              <a:defRPr lang="en-US" sz="2400" b="1" i="0" kern="1200" dirty="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382000" y="808038"/>
            <a:ext cx="762000" cy="503237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pPr>
              <a:defRPr/>
            </a:pPr>
            <a:fld id="{C7E2ABA8-A9E8-4A0C-ADFD-57B3C2B3824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672521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  <a:prstGeom prst="rect">
            <a:avLst/>
          </a:prstGeom>
        </p:spPr>
        <p:txBody>
          <a:bodyPr lIns="91428" tIns="45714" rIns="91428" bIns="45714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9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E60289-DF8C-45A7-9138-917E4EF0D65B}" type="datetime1">
              <a:rPr lang="ru-RU" smtClean="0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E6EE09-9FF3-4E4C-AAC6-007D1E3AA98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484155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428" tIns="45714" rIns="91428" bIns="45714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124762"/>
            <a:ext cx="8229600" cy="50014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E9EB41-4A37-4A1C-A188-481BF1695266}" type="datetime1">
              <a:rPr lang="ru-RU" smtClean="0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B30049-E612-47F7-AEC4-8B3D3F615C0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73032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  <a:prstGeom prst="rect">
            <a:avLst/>
          </a:prstGeom>
        </p:spPr>
        <p:txBody>
          <a:bodyPr lIns="91428" tIns="45714" rIns="91428" bIns="45714"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4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2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6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4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9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3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D0FF0C-1956-424D-B805-E0A44DB192EB}" type="datetime1">
              <a:rPr lang="ru-RU" smtClean="0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CC05B2-BEA6-494F-8CE6-7F0A8B25EAF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140746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052758"/>
            <a:ext cx="4038600" cy="507342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052758"/>
            <a:ext cx="4038600" cy="507342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428" tIns="45714" rIns="91428" bIns="45714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FF9350-8B96-4E12-80FD-77B3942A2222}" type="datetime1">
              <a:rPr lang="ru-RU" smtClean="0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EE575D-7181-4D55-B511-B90EB4E1CD9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300323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052750"/>
            <a:ext cx="4040188" cy="72008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1" indent="0">
              <a:buNone/>
              <a:defRPr sz="2000" b="1"/>
            </a:lvl2pPr>
            <a:lvl3pPr marL="914282" indent="0">
              <a:buNone/>
              <a:defRPr sz="1800" b="1"/>
            </a:lvl3pPr>
            <a:lvl4pPr marL="1371424" indent="0">
              <a:buNone/>
              <a:defRPr sz="1600" b="1"/>
            </a:lvl4pPr>
            <a:lvl5pPr marL="1828565" indent="0">
              <a:buNone/>
              <a:defRPr sz="1600" b="1"/>
            </a:lvl5pPr>
            <a:lvl6pPr marL="2285706" indent="0">
              <a:buNone/>
              <a:defRPr sz="1600" b="1"/>
            </a:lvl6pPr>
            <a:lvl7pPr marL="2742848" indent="0">
              <a:buNone/>
              <a:defRPr sz="1600" b="1"/>
            </a:lvl7pPr>
            <a:lvl8pPr marL="3199989" indent="0">
              <a:buNone/>
              <a:defRPr sz="1600" b="1"/>
            </a:lvl8pPr>
            <a:lvl9pPr marL="365713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1" y="1916834"/>
            <a:ext cx="4040188" cy="42093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4008" y="1052750"/>
            <a:ext cx="4041775" cy="72008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1" indent="0">
              <a:buNone/>
              <a:defRPr sz="2000" b="1"/>
            </a:lvl2pPr>
            <a:lvl3pPr marL="914282" indent="0">
              <a:buNone/>
              <a:defRPr sz="1800" b="1"/>
            </a:lvl3pPr>
            <a:lvl4pPr marL="1371424" indent="0">
              <a:buNone/>
              <a:defRPr sz="1600" b="1"/>
            </a:lvl4pPr>
            <a:lvl5pPr marL="1828565" indent="0">
              <a:buNone/>
              <a:defRPr sz="1600" b="1"/>
            </a:lvl5pPr>
            <a:lvl6pPr marL="2285706" indent="0">
              <a:buNone/>
              <a:defRPr sz="1600" b="1"/>
            </a:lvl6pPr>
            <a:lvl7pPr marL="2742848" indent="0">
              <a:buNone/>
              <a:defRPr sz="1600" b="1"/>
            </a:lvl7pPr>
            <a:lvl8pPr marL="3199989" indent="0">
              <a:buNone/>
              <a:defRPr sz="1600" b="1"/>
            </a:lvl8pPr>
            <a:lvl9pPr marL="365713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7" y="1916834"/>
            <a:ext cx="4041775" cy="42093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428" tIns="45714" rIns="91428" bIns="45714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09EBD5-D957-493D-8F04-9F89B9D51F76}" type="datetime1">
              <a:rPr lang="ru-RU" smtClean="0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F1E6A6-F402-49C2-9EF3-46E19D883B1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857386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428" tIns="45714" rIns="91428" bIns="45714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308DF1-670A-4D87-BEF1-96632E8523D1}" type="datetime1">
              <a:rPr lang="ru-RU" smtClean="0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6C3F08-FFF0-464A-BBA6-F669EE7B42F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802488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0C07F6-9128-4945-8411-B30741A59137}" type="datetime1">
              <a:rPr lang="ru-RU" smtClean="0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515593-4938-48C3-A027-E9FEB032896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395182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10" y="273053"/>
            <a:ext cx="3008313" cy="491654"/>
          </a:xfrm>
          <a:prstGeom prst="rect">
            <a:avLst/>
          </a:prstGeom>
        </p:spPr>
        <p:txBody>
          <a:bodyPr lIns="91428" tIns="45714" rIns="91428" bIns="45714"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113" y="1052758"/>
            <a:ext cx="5111750" cy="507342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10" y="1052758"/>
            <a:ext cx="3008313" cy="5073427"/>
          </a:xfrm>
        </p:spPr>
        <p:txBody>
          <a:bodyPr/>
          <a:lstStyle>
            <a:lvl1pPr marL="0" indent="0">
              <a:buNone/>
              <a:defRPr sz="1400"/>
            </a:lvl1pPr>
            <a:lvl2pPr marL="457141" indent="0">
              <a:buNone/>
              <a:defRPr sz="1200"/>
            </a:lvl2pPr>
            <a:lvl3pPr marL="914282" indent="0">
              <a:buNone/>
              <a:defRPr sz="1000"/>
            </a:lvl3pPr>
            <a:lvl4pPr marL="1371424" indent="0">
              <a:buNone/>
              <a:defRPr sz="900"/>
            </a:lvl4pPr>
            <a:lvl5pPr marL="1828565" indent="0">
              <a:buNone/>
              <a:defRPr sz="900"/>
            </a:lvl5pPr>
            <a:lvl6pPr marL="2285706" indent="0">
              <a:buNone/>
              <a:defRPr sz="900"/>
            </a:lvl6pPr>
            <a:lvl7pPr marL="2742848" indent="0">
              <a:buNone/>
              <a:defRPr sz="900"/>
            </a:lvl7pPr>
            <a:lvl8pPr marL="3199989" indent="0">
              <a:buNone/>
              <a:defRPr sz="900"/>
            </a:lvl8pPr>
            <a:lvl9pPr marL="365713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13DFB4-EEE2-42A8-80A3-F99A2708CD2D}" type="datetime1">
              <a:rPr lang="ru-RU" smtClean="0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A6188D-3729-4D15-8BE2-836FB0B2D54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41850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 txBox="1">
            <a:spLocks/>
          </p:cNvSpPr>
          <p:nvPr userDrawn="1"/>
        </p:nvSpPr>
        <p:spPr>
          <a:xfrm>
            <a:off x="685800" y="4079875"/>
            <a:ext cx="7772400" cy="133667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altLang="ru-RU" sz="2400" smtClean="0">
                <a:solidFill>
                  <a:schemeClr val="bg1"/>
                </a:solidFill>
                <a:latin typeface="FranklinGothicDemiITC"/>
                <a:ea typeface="FranklinGothicDemiITC"/>
                <a:cs typeface="FranklinGothicDemiITC"/>
              </a:rPr>
              <a:t>СПАСИБО ЗА ВНИМАНИЕ!</a:t>
            </a: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3506788" y="2333625"/>
            <a:ext cx="2130425" cy="1746250"/>
          </a:xfrm>
          <a:prstGeom prst="rect">
            <a:avLst/>
          </a:prstGeom>
          <a:solidFill>
            <a:srgbClr val="252A5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463908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91" y="4800664"/>
            <a:ext cx="5486400" cy="566738"/>
          </a:xfrm>
          <a:prstGeom prst="rect">
            <a:avLst/>
          </a:prstGeom>
        </p:spPr>
        <p:txBody>
          <a:bodyPr lIns="91428" tIns="45714" rIns="91428" bIns="45714"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91" y="1124745"/>
            <a:ext cx="5486400" cy="3602831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41" indent="0">
              <a:buNone/>
              <a:defRPr sz="2800"/>
            </a:lvl2pPr>
            <a:lvl3pPr marL="914282" indent="0">
              <a:buNone/>
              <a:defRPr sz="2400"/>
            </a:lvl3pPr>
            <a:lvl4pPr marL="1371424" indent="0">
              <a:buNone/>
              <a:defRPr sz="2000"/>
            </a:lvl4pPr>
            <a:lvl5pPr marL="1828565" indent="0">
              <a:buNone/>
              <a:defRPr sz="2000"/>
            </a:lvl5pPr>
            <a:lvl6pPr marL="2285706" indent="0">
              <a:buNone/>
              <a:defRPr sz="2000"/>
            </a:lvl6pPr>
            <a:lvl7pPr marL="2742848" indent="0">
              <a:buNone/>
              <a:defRPr sz="2000"/>
            </a:lvl7pPr>
            <a:lvl8pPr marL="3199989" indent="0">
              <a:buNone/>
              <a:defRPr sz="2000"/>
            </a:lvl8pPr>
            <a:lvl9pPr marL="3657130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91" y="5367402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1" indent="0">
              <a:buNone/>
              <a:defRPr sz="1200"/>
            </a:lvl2pPr>
            <a:lvl3pPr marL="914282" indent="0">
              <a:buNone/>
              <a:defRPr sz="1000"/>
            </a:lvl3pPr>
            <a:lvl4pPr marL="1371424" indent="0">
              <a:buNone/>
              <a:defRPr sz="900"/>
            </a:lvl4pPr>
            <a:lvl5pPr marL="1828565" indent="0">
              <a:buNone/>
              <a:defRPr sz="900"/>
            </a:lvl5pPr>
            <a:lvl6pPr marL="2285706" indent="0">
              <a:buNone/>
              <a:defRPr sz="900"/>
            </a:lvl6pPr>
            <a:lvl7pPr marL="2742848" indent="0">
              <a:buNone/>
              <a:defRPr sz="900"/>
            </a:lvl7pPr>
            <a:lvl8pPr marL="3199989" indent="0">
              <a:buNone/>
              <a:defRPr sz="900"/>
            </a:lvl8pPr>
            <a:lvl9pPr marL="365713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12D032-819E-4F53-BAA4-79E3CC15F29A}" type="datetime1">
              <a:rPr lang="ru-RU" smtClean="0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D174F9-AF5D-446A-A6FC-379D4B3E8A9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79108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124762"/>
            <a:ext cx="8229600" cy="500141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428" tIns="45714" rIns="91428" bIns="45714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A81C33-9FB4-40C3-951C-90AAB81DBE06}" type="datetime1">
              <a:rPr lang="ru-RU" smtClean="0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1857DE-3DAA-4881-AAF2-E1DC377679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832294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980730"/>
            <a:ext cx="2057400" cy="5145435"/>
          </a:xfrm>
          <a:prstGeom prst="rect">
            <a:avLst/>
          </a:prstGeom>
        </p:spPr>
        <p:txBody>
          <a:bodyPr vert="eaVert" lIns="91428" tIns="45714" rIns="91428" bIns="45714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980730"/>
            <a:ext cx="6019800" cy="514543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BCD692-B630-4F07-A387-DE0DDC4BAE59}" type="datetime1">
              <a:rPr lang="ru-RU" smtClean="0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807573-721D-4265-BB94-4A55FACD2FF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88887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396940" y="825395"/>
            <a:ext cx="8269784" cy="490786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4" name="Slide Number Placeholder 5"/>
          <p:cNvSpPr txBox="1">
            <a:spLocks/>
          </p:cNvSpPr>
          <p:nvPr/>
        </p:nvSpPr>
        <p:spPr>
          <a:xfrm>
            <a:off x="131763" y="6356350"/>
            <a:ext cx="2133600" cy="363538"/>
          </a:xfrm>
          <a:prstGeom prst="rect">
            <a:avLst/>
          </a:prstGeom>
        </p:spPr>
        <p:txBody>
          <a:bodyPr lIns="90883" tIns="45430" rIns="90883" bIns="45430" anchor="ctr"/>
          <a:lstStyle>
            <a:lvl1pPr algn="l">
              <a:defRPr/>
            </a:lvl1pPr>
          </a:lstStyle>
          <a:p>
            <a:pPr defTabSz="90875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 smtClean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Прямоугольник с одним скругленным углом 6"/>
          <p:cNvSpPr/>
          <p:nvPr/>
        </p:nvSpPr>
        <p:spPr bwMode="auto">
          <a:xfrm rot="10800000" flipH="1">
            <a:off x="0" y="-1588"/>
            <a:ext cx="8675688" cy="557213"/>
          </a:xfrm>
          <a:prstGeom prst="round1Rect">
            <a:avLst>
              <a:gd name="adj" fmla="val 50000"/>
            </a:avLst>
          </a:prstGeom>
          <a:gradFill>
            <a:gsLst>
              <a:gs pos="0">
                <a:srgbClr val="1D4576">
                  <a:alpha val="85000"/>
                </a:srgbClr>
              </a:gs>
              <a:gs pos="100000">
                <a:srgbClr val="0066CC">
                  <a:alpha val="75000"/>
                </a:srgbClr>
              </a:gs>
            </a:gsLst>
            <a:lin ang="16200000" scaled="1"/>
          </a:gradFill>
          <a:ln>
            <a:noFill/>
          </a:ln>
          <a:effectLst/>
        </p:spPr>
        <p:txBody>
          <a:bodyPr lIns="85585" tIns="42798" rIns="85585" bIns="42798"/>
          <a:lstStyle/>
          <a:p>
            <a:pPr defTabSz="855857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2300" dirty="0">
              <a:solidFill>
                <a:prstClr val="black"/>
              </a:solidFill>
              <a:latin typeface="Times" pitchFamily="18" charset="0"/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-546" y="-1470"/>
            <a:ext cx="8172946" cy="556164"/>
          </a:xfrm>
          <a:prstGeom prst="rect">
            <a:avLst/>
          </a:prstGeom>
        </p:spPr>
        <p:txBody>
          <a:bodyPr lIns="91434" tIns="45717" rIns="91434" bIns="45717"/>
          <a:lstStyle>
            <a:lvl1pPr>
              <a:lnSpc>
                <a:spcPct val="80000"/>
              </a:lnSpc>
              <a:defRPr sz="2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470900" y="6356350"/>
            <a:ext cx="43973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63C96C-1F7F-43F5-9DA4-D42E1923BEB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047282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414126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56" y="9161"/>
            <a:ext cx="7141569" cy="900469"/>
          </a:xfrm>
          <a:prstGeom prst="rect">
            <a:avLst/>
          </a:prstGeom>
        </p:spPr>
        <p:txBody>
          <a:bodyPr>
            <a:normAutofit/>
          </a:bodyPr>
          <a:lstStyle>
            <a:lvl1pPr marL="9207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440" tIns="45720" rIns="91440" bIns="45720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902E3CCE-C095-4280-AEAB-95E1F10EB46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585820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52"/>
            <a:ext cx="7772400" cy="121489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603117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052771"/>
            <a:ext cx="4038600" cy="5073427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052771"/>
            <a:ext cx="4038600" cy="5073427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0981" tIns="45480" rIns="90981" bIns="45480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8CB729-1B08-4A47-80C2-69526DDA413A}" type="datetime1">
              <a:rPr lang="ru-RU" smtClean="0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3AA1FF-59C8-4BA4-9C50-2ECB3627A53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220526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052758"/>
            <a:ext cx="4040188" cy="72008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4879" indent="0">
              <a:buNone/>
              <a:defRPr sz="2000" b="1"/>
            </a:lvl2pPr>
            <a:lvl3pPr marL="909770" indent="0">
              <a:buNone/>
              <a:defRPr sz="1800" b="1"/>
            </a:lvl3pPr>
            <a:lvl4pPr marL="1364658" indent="0">
              <a:buNone/>
              <a:defRPr sz="1600" b="1"/>
            </a:lvl4pPr>
            <a:lvl5pPr marL="1819542" indent="0">
              <a:buNone/>
              <a:defRPr sz="1600" b="1"/>
            </a:lvl5pPr>
            <a:lvl6pPr marL="2274428" indent="0">
              <a:buNone/>
              <a:defRPr sz="1600" b="1"/>
            </a:lvl6pPr>
            <a:lvl7pPr marL="2729312" indent="0">
              <a:buNone/>
              <a:defRPr sz="1600" b="1"/>
            </a:lvl7pPr>
            <a:lvl8pPr marL="3184195" indent="0">
              <a:buNone/>
              <a:defRPr sz="1600" b="1"/>
            </a:lvl8pPr>
            <a:lvl9pPr marL="3639086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1" y="1916849"/>
            <a:ext cx="4040188" cy="4209331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4082" y="1052758"/>
            <a:ext cx="4041775" cy="72008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4879" indent="0">
              <a:buNone/>
              <a:defRPr sz="2000" b="1"/>
            </a:lvl2pPr>
            <a:lvl3pPr marL="909770" indent="0">
              <a:buNone/>
              <a:defRPr sz="1800" b="1"/>
            </a:lvl3pPr>
            <a:lvl4pPr marL="1364658" indent="0">
              <a:buNone/>
              <a:defRPr sz="1600" b="1"/>
            </a:lvl4pPr>
            <a:lvl5pPr marL="1819542" indent="0">
              <a:buNone/>
              <a:defRPr sz="1600" b="1"/>
            </a:lvl5pPr>
            <a:lvl6pPr marL="2274428" indent="0">
              <a:buNone/>
              <a:defRPr sz="1600" b="1"/>
            </a:lvl6pPr>
            <a:lvl7pPr marL="2729312" indent="0">
              <a:buNone/>
              <a:defRPr sz="1600" b="1"/>
            </a:lvl7pPr>
            <a:lvl8pPr marL="3184195" indent="0">
              <a:buNone/>
              <a:defRPr sz="1600" b="1"/>
            </a:lvl8pPr>
            <a:lvl9pPr marL="3639086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105" y="1916849"/>
            <a:ext cx="4041775" cy="4209331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0981" tIns="45480" rIns="90981" bIns="45480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38C367-28B0-430A-BAA7-7FCFD0BB7E3D}" type="datetime1">
              <a:rPr lang="ru-RU" smtClean="0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56C7FA-1172-452A-958F-88F20790B29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453355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0981" tIns="45480" rIns="90981" bIns="45480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008C69-28EE-4A33-B70B-3C9BBE0D53DB}" type="datetime1">
              <a:rPr lang="ru-RU" smtClean="0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C29960-D13E-4002-8A0B-B7DAD92F501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78998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07504" y="116632"/>
            <a:ext cx="5040560" cy="648072"/>
          </a:xfrm>
          <a:prstGeom prst="rect">
            <a:avLst/>
          </a:prstGeom>
        </p:spPr>
        <p:txBody>
          <a:bodyPr lIns="93486" tIns="46742" rIns="93486" bIns="46742"/>
          <a:lstStyle>
            <a:lvl1pPr algn="l"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FF43EDE-59C3-4087-A244-9706E297E83B}" type="datetime1">
              <a:rPr lang="ru-RU" smtClean="0"/>
              <a:t>26.05.201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60E5EC3-7AFE-4DA9-8582-8D86FAFED9D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134119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124775"/>
            <a:ext cx="8229600" cy="500141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0981" tIns="45480" rIns="90981" bIns="45480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0846E3-1B23-4976-9F5B-FBFCF932DADF}" type="datetime1">
              <a:rPr lang="ru-RU" smtClean="0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F5965F-FB90-49BD-AABC-2898379650B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369977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396946" y="825399"/>
            <a:ext cx="8269784" cy="490786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131763" y="6356350"/>
            <a:ext cx="2133600" cy="363538"/>
          </a:xfrm>
          <a:prstGeom prst="rect">
            <a:avLst/>
          </a:prstGeom>
        </p:spPr>
        <p:txBody>
          <a:bodyPr lIns="90438" tIns="45213" rIns="90438" bIns="45213" anchor="ctr"/>
          <a:lstStyle>
            <a:lvl1pPr algn="l">
              <a:defRPr/>
            </a:lvl1pPr>
          </a:lstStyle>
          <a:p>
            <a:pPr defTabSz="904273">
              <a:defRPr/>
            </a:pPr>
            <a:endParaRPr lang="en-US" sz="1200" dirty="0" smtClean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Прямоугольник с одним скругленным углом 6"/>
          <p:cNvSpPr/>
          <p:nvPr userDrawn="1"/>
        </p:nvSpPr>
        <p:spPr bwMode="auto">
          <a:xfrm rot="10800000" flipH="1">
            <a:off x="0" y="-1588"/>
            <a:ext cx="8675688" cy="557213"/>
          </a:xfrm>
          <a:prstGeom prst="round1Rect">
            <a:avLst>
              <a:gd name="adj" fmla="val 50000"/>
            </a:avLst>
          </a:prstGeom>
          <a:gradFill>
            <a:gsLst>
              <a:gs pos="0">
                <a:srgbClr val="1D4576">
                  <a:alpha val="85000"/>
                </a:srgbClr>
              </a:gs>
              <a:gs pos="100000">
                <a:srgbClr val="0066CC">
                  <a:alpha val="75000"/>
                </a:srgbClr>
              </a:gs>
            </a:gsLst>
            <a:lin ang="16200000" scaled="1"/>
          </a:gradFill>
          <a:ln>
            <a:noFill/>
          </a:ln>
          <a:effectLst/>
        </p:spPr>
        <p:txBody>
          <a:bodyPr lIns="85178" tIns="42595" rIns="85178" bIns="42595"/>
          <a:lstStyle/>
          <a:p>
            <a:pPr defTabSz="851639" eaLnBrk="0" hangingPunct="0">
              <a:defRPr/>
            </a:pPr>
            <a:endParaRPr lang="ru-RU" sz="2300">
              <a:solidFill>
                <a:prstClr val="black"/>
              </a:solidFill>
              <a:latin typeface="Times" pitchFamily="18" charset="0"/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-539" y="-1470"/>
            <a:ext cx="8172946" cy="556164"/>
          </a:xfrm>
          <a:prstGeom prst="rect">
            <a:avLst/>
          </a:prstGeom>
        </p:spPr>
        <p:txBody>
          <a:bodyPr lIns="90986" tIns="45483" rIns="90986" bIns="45483"/>
          <a:lstStyle>
            <a:lvl1pPr>
              <a:lnSpc>
                <a:spcPct val="80000"/>
              </a:lnSpc>
              <a:defRPr sz="2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470900" y="6356350"/>
            <a:ext cx="43973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A75E73-6420-479E-8117-C8E1608CA1B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109958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01" tIns="45488" rIns="91001" bIns="4548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442137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44" y="9171"/>
            <a:ext cx="7141569" cy="900469"/>
          </a:xfrm>
          <a:prstGeom prst="rect">
            <a:avLst/>
          </a:prstGeom>
        </p:spPr>
        <p:txBody>
          <a:bodyPr lIns="91001" tIns="45488" rIns="91001" bIns="45488">
            <a:normAutofit/>
          </a:bodyPr>
          <a:lstStyle>
            <a:lvl1pPr marL="9162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01" tIns="45488" rIns="91001" bIns="4548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D506C23-2202-417F-A5C6-E6921672233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702853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01" tIns="45488" rIns="91001" bIns="45488" anchor="ctr"/>
          <a:lstStyle/>
          <a:p>
            <a:pPr algn="ctr" defTabSz="909944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60"/>
            <a:ext cx="7772400" cy="1214896"/>
          </a:xfrm>
          <a:prstGeom prst="rect">
            <a:avLst/>
          </a:prstGeom>
        </p:spPr>
        <p:txBody>
          <a:bodyPr lIns="91001" tIns="45488" rIns="91001" bIns="4548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766351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555" tIns="40776" rIns="81555" bIns="40776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7899602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01" tIns="45488" rIns="91001" bIns="4548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7833229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44" y="9171"/>
            <a:ext cx="7141569" cy="900469"/>
          </a:xfrm>
          <a:prstGeom prst="rect">
            <a:avLst/>
          </a:prstGeom>
        </p:spPr>
        <p:txBody>
          <a:bodyPr lIns="91001" tIns="45488" rIns="91001" bIns="45488">
            <a:normAutofit/>
          </a:bodyPr>
          <a:lstStyle>
            <a:lvl1pPr marL="9162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01" tIns="45488" rIns="91001" bIns="4548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DC03F10E-ABBE-42B4-81D6-F99097293B3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798470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01" tIns="45488" rIns="91001" bIns="45488" anchor="ctr"/>
          <a:lstStyle/>
          <a:p>
            <a:pPr algn="ctr" defTabSz="909944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60"/>
            <a:ext cx="7772400" cy="1214896"/>
          </a:xfrm>
          <a:prstGeom prst="rect">
            <a:avLst/>
          </a:prstGeom>
        </p:spPr>
        <p:txBody>
          <a:bodyPr lIns="91001" tIns="45488" rIns="91001" bIns="4548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6087226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555" tIns="40776" rIns="81555" bIns="40776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4167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slideLayout" Target="../slideLayouts/slideLayout40.xml"/><Relationship Id="rId39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35.xml"/><Relationship Id="rId34" Type="http://schemas.openxmlformats.org/officeDocument/2006/relationships/slideLayout" Target="../slideLayouts/slideLayout48.xml"/><Relationship Id="rId42" Type="http://schemas.openxmlformats.org/officeDocument/2006/relationships/slideLayout" Target="../slideLayouts/slideLayout56.xml"/><Relationship Id="rId47" Type="http://schemas.openxmlformats.org/officeDocument/2006/relationships/slideLayout" Target="../slideLayouts/slideLayout61.xml"/><Relationship Id="rId50" Type="http://schemas.openxmlformats.org/officeDocument/2006/relationships/slideLayout" Target="../slideLayouts/slideLayout64.xml"/><Relationship Id="rId55" Type="http://schemas.openxmlformats.org/officeDocument/2006/relationships/slideLayout" Target="../slideLayouts/slideLayout69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9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32" Type="http://schemas.openxmlformats.org/officeDocument/2006/relationships/slideLayout" Target="../slideLayouts/slideLayout46.xml"/><Relationship Id="rId37" Type="http://schemas.openxmlformats.org/officeDocument/2006/relationships/slideLayout" Target="../slideLayouts/slideLayout51.xml"/><Relationship Id="rId40" Type="http://schemas.openxmlformats.org/officeDocument/2006/relationships/slideLayout" Target="../slideLayouts/slideLayout54.xml"/><Relationship Id="rId45" Type="http://schemas.openxmlformats.org/officeDocument/2006/relationships/slideLayout" Target="../slideLayouts/slideLayout59.xml"/><Relationship Id="rId53" Type="http://schemas.openxmlformats.org/officeDocument/2006/relationships/slideLayout" Target="../slideLayouts/slideLayout67.xml"/><Relationship Id="rId58" Type="http://schemas.openxmlformats.org/officeDocument/2006/relationships/theme" Target="../theme/theme3.xml"/><Relationship Id="rId5" Type="http://schemas.openxmlformats.org/officeDocument/2006/relationships/slideLayout" Target="../slideLayouts/slideLayout19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slideLayout" Target="../slideLayouts/slideLayout41.xml"/><Relationship Id="rId30" Type="http://schemas.openxmlformats.org/officeDocument/2006/relationships/slideLayout" Target="../slideLayouts/slideLayout44.xml"/><Relationship Id="rId35" Type="http://schemas.openxmlformats.org/officeDocument/2006/relationships/slideLayout" Target="../slideLayouts/slideLayout49.xml"/><Relationship Id="rId43" Type="http://schemas.openxmlformats.org/officeDocument/2006/relationships/slideLayout" Target="../slideLayouts/slideLayout57.xml"/><Relationship Id="rId48" Type="http://schemas.openxmlformats.org/officeDocument/2006/relationships/slideLayout" Target="../slideLayouts/slideLayout62.xml"/><Relationship Id="rId56" Type="http://schemas.openxmlformats.org/officeDocument/2006/relationships/slideLayout" Target="../slideLayouts/slideLayout70.xml"/><Relationship Id="rId8" Type="http://schemas.openxmlformats.org/officeDocument/2006/relationships/slideLayout" Target="../slideLayouts/slideLayout22.xml"/><Relationship Id="rId51" Type="http://schemas.openxmlformats.org/officeDocument/2006/relationships/slideLayout" Target="../slideLayouts/slideLayout65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33" Type="http://schemas.openxmlformats.org/officeDocument/2006/relationships/slideLayout" Target="../slideLayouts/slideLayout47.xml"/><Relationship Id="rId38" Type="http://schemas.openxmlformats.org/officeDocument/2006/relationships/slideLayout" Target="../slideLayouts/slideLayout52.xml"/><Relationship Id="rId46" Type="http://schemas.openxmlformats.org/officeDocument/2006/relationships/slideLayout" Target="../slideLayouts/slideLayout60.xml"/><Relationship Id="rId59" Type="http://schemas.openxmlformats.org/officeDocument/2006/relationships/image" Target="../media/image4.png"/><Relationship Id="rId20" Type="http://schemas.openxmlformats.org/officeDocument/2006/relationships/slideLayout" Target="../slideLayouts/slideLayout34.xml"/><Relationship Id="rId41" Type="http://schemas.openxmlformats.org/officeDocument/2006/relationships/slideLayout" Target="../slideLayouts/slideLayout55.xml"/><Relationship Id="rId54" Type="http://schemas.openxmlformats.org/officeDocument/2006/relationships/slideLayout" Target="../slideLayouts/slideLayout68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28" Type="http://schemas.openxmlformats.org/officeDocument/2006/relationships/slideLayout" Target="../slideLayouts/slideLayout42.xml"/><Relationship Id="rId36" Type="http://schemas.openxmlformats.org/officeDocument/2006/relationships/slideLayout" Target="../slideLayouts/slideLayout50.xml"/><Relationship Id="rId49" Type="http://schemas.openxmlformats.org/officeDocument/2006/relationships/slideLayout" Target="../slideLayouts/slideLayout63.xml"/><Relationship Id="rId57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24.xml"/><Relationship Id="rId31" Type="http://schemas.openxmlformats.org/officeDocument/2006/relationships/slideLayout" Target="../slideLayouts/slideLayout45.xml"/><Relationship Id="rId44" Type="http://schemas.openxmlformats.org/officeDocument/2006/relationships/slideLayout" Target="../slideLayouts/slideLayout58.xml"/><Relationship Id="rId52" Type="http://schemas.openxmlformats.org/officeDocument/2006/relationships/slideLayout" Target="../slideLayouts/slideLayout66.xml"/><Relationship Id="rId60" Type="http://schemas.openxmlformats.org/officeDocument/2006/relationships/image" Target="../media/image5.png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26" Type="http://schemas.openxmlformats.org/officeDocument/2006/relationships/slideLayout" Target="../slideLayouts/slideLayout97.xml"/><Relationship Id="rId39" Type="http://schemas.openxmlformats.org/officeDocument/2006/relationships/slideLayout" Target="../slideLayouts/slideLayout110.xml"/><Relationship Id="rId21" Type="http://schemas.openxmlformats.org/officeDocument/2006/relationships/slideLayout" Target="../slideLayouts/slideLayout92.xml"/><Relationship Id="rId34" Type="http://schemas.openxmlformats.org/officeDocument/2006/relationships/slideLayout" Target="../slideLayouts/slideLayout105.xml"/><Relationship Id="rId42" Type="http://schemas.openxmlformats.org/officeDocument/2006/relationships/slideLayout" Target="../slideLayouts/slideLayout113.xml"/><Relationship Id="rId47" Type="http://schemas.openxmlformats.org/officeDocument/2006/relationships/slideLayout" Target="../slideLayouts/slideLayout118.xml"/><Relationship Id="rId50" Type="http://schemas.openxmlformats.org/officeDocument/2006/relationships/slideLayout" Target="../slideLayouts/slideLayout121.xml"/><Relationship Id="rId55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9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82.xml"/><Relationship Id="rId24" Type="http://schemas.openxmlformats.org/officeDocument/2006/relationships/slideLayout" Target="../slideLayouts/slideLayout95.xml"/><Relationship Id="rId32" Type="http://schemas.openxmlformats.org/officeDocument/2006/relationships/slideLayout" Target="../slideLayouts/slideLayout103.xml"/><Relationship Id="rId37" Type="http://schemas.openxmlformats.org/officeDocument/2006/relationships/slideLayout" Target="../slideLayouts/slideLayout108.xml"/><Relationship Id="rId40" Type="http://schemas.openxmlformats.org/officeDocument/2006/relationships/slideLayout" Target="../slideLayouts/slideLayout111.xml"/><Relationship Id="rId45" Type="http://schemas.openxmlformats.org/officeDocument/2006/relationships/slideLayout" Target="../slideLayouts/slideLayout116.xml"/><Relationship Id="rId53" Type="http://schemas.openxmlformats.org/officeDocument/2006/relationships/slideLayout" Target="../slideLayouts/slideLayout124.xml"/><Relationship Id="rId58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76.xml"/><Relationship Id="rId61" Type="http://schemas.openxmlformats.org/officeDocument/2006/relationships/image" Target="../media/image5.png"/><Relationship Id="rId1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85.xml"/><Relationship Id="rId22" Type="http://schemas.openxmlformats.org/officeDocument/2006/relationships/slideLayout" Target="../slideLayouts/slideLayout93.xml"/><Relationship Id="rId27" Type="http://schemas.openxmlformats.org/officeDocument/2006/relationships/slideLayout" Target="../slideLayouts/slideLayout98.xml"/><Relationship Id="rId30" Type="http://schemas.openxmlformats.org/officeDocument/2006/relationships/slideLayout" Target="../slideLayouts/slideLayout101.xml"/><Relationship Id="rId35" Type="http://schemas.openxmlformats.org/officeDocument/2006/relationships/slideLayout" Target="../slideLayouts/slideLayout106.xml"/><Relationship Id="rId43" Type="http://schemas.openxmlformats.org/officeDocument/2006/relationships/slideLayout" Target="../slideLayouts/slideLayout114.xml"/><Relationship Id="rId48" Type="http://schemas.openxmlformats.org/officeDocument/2006/relationships/slideLayout" Target="../slideLayouts/slideLayout119.xml"/><Relationship Id="rId56" Type="http://schemas.openxmlformats.org/officeDocument/2006/relationships/slideLayout" Target="../slideLayouts/slideLayout127.xml"/><Relationship Id="rId8" Type="http://schemas.openxmlformats.org/officeDocument/2006/relationships/slideLayout" Target="../slideLayouts/slideLayout79.xml"/><Relationship Id="rId51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slideLayout" Target="../slideLayouts/slideLayout96.xml"/><Relationship Id="rId33" Type="http://schemas.openxmlformats.org/officeDocument/2006/relationships/slideLayout" Target="../slideLayouts/slideLayout104.xml"/><Relationship Id="rId38" Type="http://schemas.openxmlformats.org/officeDocument/2006/relationships/slideLayout" Target="../slideLayouts/slideLayout109.xml"/><Relationship Id="rId46" Type="http://schemas.openxmlformats.org/officeDocument/2006/relationships/slideLayout" Target="../slideLayouts/slideLayout117.xml"/><Relationship Id="rId59" Type="http://schemas.openxmlformats.org/officeDocument/2006/relationships/theme" Target="../theme/theme4.xml"/><Relationship Id="rId20" Type="http://schemas.openxmlformats.org/officeDocument/2006/relationships/slideLayout" Target="../slideLayouts/slideLayout91.xml"/><Relationship Id="rId41" Type="http://schemas.openxmlformats.org/officeDocument/2006/relationships/slideLayout" Target="../slideLayouts/slideLayout112.xml"/><Relationship Id="rId54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6.xml"/><Relationship Id="rId23" Type="http://schemas.openxmlformats.org/officeDocument/2006/relationships/slideLayout" Target="../slideLayouts/slideLayout94.xml"/><Relationship Id="rId28" Type="http://schemas.openxmlformats.org/officeDocument/2006/relationships/slideLayout" Target="../slideLayouts/slideLayout99.xml"/><Relationship Id="rId36" Type="http://schemas.openxmlformats.org/officeDocument/2006/relationships/slideLayout" Target="../slideLayouts/slideLayout107.xml"/><Relationship Id="rId49" Type="http://schemas.openxmlformats.org/officeDocument/2006/relationships/slideLayout" Target="../slideLayouts/slideLayout120.xml"/><Relationship Id="rId57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81.xml"/><Relationship Id="rId31" Type="http://schemas.openxmlformats.org/officeDocument/2006/relationships/slideLayout" Target="../slideLayouts/slideLayout102.xml"/><Relationship Id="rId44" Type="http://schemas.openxmlformats.org/officeDocument/2006/relationships/slideLayout" Target="../slideLayouts/slideLayout115.xml"/><Relationship Id="rId52" Type="http://schemas.openxmlformats.org/officeDocument/2006/relationships/slideLayout" Target="../slideLayouts/slideLayout123.xml"/><Relationship Id="rId60" Type="http://schemas.openxmlformats.org/officeDocument/2006/relationships/image" Target="../media/image4.png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2.xml"/><Relationship Id="rId18" Type="http://schemas.openxmlformats.org/officeDocument/2006/relationships/slideLayout" Target="../slideLayouts/slideLayout147.xml"/><Relationship Id="rId26" Type="http://schemas.openxmlformats.org/officeDocument/2006/relationships/slideLayout" Target="../slideLayouts/slideLayout155.xml"/><Relationship Id="rId39" Type="http://schemas.openxmlformats.org/officeDocument/2006/relationships/slideLayout" Target="../slideLayouts/slideLayout168.xml"/><Relationship Id="rId21" Type="http://schemas.openxmlformats.org/officeDocument/2006/relationships/slideLayout" Target="../slideLayouts/slideLayout150.xml"/><Relationship Id="rId34" Type="http://schemas.openxmlformats.org/officeDocument/2006/relationships/slideLayout" Target="../slideLayouts/slideLayout163.xml"/><Relationship Id="rId42" Type="http://schemas.openxmlformats.org/officeDocument/2006/relationships/slideLayout" Target="../slideLayouts/slideLayout171.xml"/><Relationship Id="rId47" Type="http://schemas.openxmlformats.org/officeDocument/2006/relationships/slideLayout" Target="../slideLayouts/slideLayout176.xml"/><Relationship Id="rId50" Type="http://schemas.openxmlformats.org/officeDocument/2006/relationships/slideLayout" Target="../slideLayouts/slideLayout179.xml"/><Relationship Id="rId55" Type="http://schemas.openxmlformats.org/officeDocument/2006/relationships/slideLayout" Target="../slideLayouts/slideLayout184.xml"/><Relationship Id="rId7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31.xml"/><Relationship Id="rId16" Type="http://schemas.openxmlformats.org/officeDocument/2006/relationships/slideLayout" Target="../slideLayouts/slideLayout145.xml"/><Relationship Id="rId29" Type="http://schemas.openxmlformats.org/officeDocument/2006/relationships/slideLayout" Target="../slideLayouts/slideLayout158.xml"/><Relationship Id="rId11" Type="http://schemas.openxmlformats.org/officeDocument/2006/relationships/slideLayout" Target="../slideLayouts/slideLayout140.xml"/><Relationship Id="rId24" Type="http://schemas.openxmlformats.org/officeDocument/2006/relationships/slideLayout" Target="../slideLayouts/slideLayout153.xml"/><Relationship Id="rId32" Type="http://schemas.openxmlformats.org/officeDocument/2006/relationships/slideLayout" Target="../slideLayouts/slideLayout161.xml"/><Relationship Id="rId37" Type="http://schemas.openxmlformats.org/officeDocument/2006/relationships/slideLayout" Target="../slideLayouts/slideLayout166.xml"/><Relationship Id="rId40" Type="http://schemas.openxmlformats.org/officeDocument/2006/relationships/slideLayout" Target="../slideLayouts/slideLayout169.xml"/><Relationship Id="rId45" Type="http://schemas.openxmlformats.org/officeDocument/2006/relationships/slideLayout" Target="../slideLayouts/slideLayout174.xml"/><Relationship Id="rId53" Type="http://schemas.openxmlformats.org/officeDocument/2006/relationships/slideLayout" Target="../slideLayouts/slideLayout182.xml"/><Relationship Id="rId58" Type="http://schemas.openxmlformats.org/officeDocument/2006/relationships/slideLayout" Target="../slideLayouts/slideLayout187.xml"/><Relationship Id="rId5" Type="http://schemas.openxmlformats.org/officeDocument/2006/relationships/slideLayout" Target="../slideLayouts/slideLayout134.xml"/><Relationship Id="rId61" Type="http://schemas.openxmlformats.org/officeDocument/2006/relationships/image" Target="../media/image5.png"/><Relationship Id="rId19" Type="http://schemas.openxmlformats.org/officeDocument/2006/relationships/slideLayout" Target="../slideLayouts/slideLayout148.xml"/><Relationship Id="rId14" Type="http://schemas.openxmlformats.org/officeDocument/2006/relationships/slideLayout" Target="../slideLayouts/slideLayout143.xml"/><Relationship Id="rId22" Type="http://schemas.openxmlformats.org/officeDocument/2006/relationships/slideLayout" Target="../slideLayouts/slideLayout151.xml"/><Relationship Id="rId27" Type="http://schemas.openxmlformats.org/officeDocument/2006/relationships/slideLayout" Target="../slideLayouts/slideLayout156.xml"/><Relationship Id="rId30" Type="http://schemas.openxmlformats.org/officeDocument/2006/relationships/slideLayout" Target="../slideLayouts/slideLayout159.xml"/><Relationship Id="rId35" Type="http://schemas.openxmlformats.org/officeDocument/2006/relationships/slideLayout" Target="../slideLayouts/slideLayout164.xml"/><Relationship Id="rId43" Type="http://schemas.openxmlformats.org/officeDocument/2006/relationships/slideLayout" Target="../slideLayouts/slideLayout172.xml"/><Relationship Id="rId48" Type="http://schemas.openxmlformats.org/officeDocument/2006/relationships/slideLayout" Target="../slideLayouts/slideLayout177.xml"/><Relationship Id="rId56" Type="http://schemas.openxmlformats.org/officeDocument/2006/relationships/slideLayout" Target="../slideLayouts/slideLayout185.xml"/><Relationship Id="rId8" Type="http://schemas.openxmlformats.org/officeDocument/2006/relationships/slideLayout" Target="../slideLayouts/slideLayout137.xml"/><Relationship Id="rId51" Type="http://schemas.openxmlformats.org/officeDocument/2006/relationships/slideLayout" Target="../slideLayouts/slideLayout180.xml"/><Relationship Id="rId3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41.xml"/><Relationship Id="rId17" Type="http://schemas.openxmlformats.org/officeDocument/2006/relationships/slideLayout" Target="../slideLayouts/slideLayout146.xml"/><Relationship Id="rId25" Type="http://schemas.openxmlformats.org/officeDocument/2006/relationships/slideLayout" Target="../slideLayouts/slideLayout154.xml"/><Relationship Id="rId33" Type="http://schemas.openxmlformats.org/officeDocument/2006/relationships/slideLayout" Target="../slideLayouts/slideLayout162.xml"/><Relationship Id="rId38" Type="http://schemas.openxmlformats.org/officeDocument/2006/relationships/slideLayout" Target="../slideLayouts/slideLayout167.xml"/><Relationship Id="rId46" Type="http://schemas.openxmlformats.org/officeDocument/2006/relationships/slideLayout" Target="../slideLayouts/slideLayout175.xml"/><Relationship Id="rId59" Type="http://schemas.openxmlformats.org/officeDocument/2006/relationships/theme" Target="../theme/theme5.xml"/><Relationship Id="rId20" Type="http://schemas.openxmlformats.org/officeDocument/2006/relationships/slideLayout" Target="../slideLayouts/slideLayout149.xml"/><Relationship Id="rId41" Type="http://schemas.openxmlformats.org/officeDocument/2006/relationships/slideLayout" Target="../slideLayouts/slideLayout170.xml"/><Relationship Id="rId54" Type="http://schemas.openxmlformats.org/officeDocument/2006/relationships/slideLayout" Target="../slideLayouts/slideLayout183.xml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15" Type="http://schemas.openxmlformats.org/officeDocument/2006/relationships/slideLayout" Target="../slideLayouts/slideLayout144.xml"/><Relationship Id="rId23" Type="http://schemas.openxmlformats.org/officeDocument/2006/relationships/slideLayout" Target="../slideLayouts/slideLayout152.xml"/><Relationship Id="rId28" Type="http://schemas.openxmlformats.org/officeDocument/2006/relationships/slideLayout" Target="../slideLayouts/slideLayout157.xml"/><Relationship Id="rId36" Type="http://schemas.openxmlformats.org/officeDocument/2006/relationships/slideLayout" Target="../slideLayouts/slideLayout165.xml"/><Relationship Id="rId49" Type="http://schemas.openxmlformats.org/officeDocument/2006/relationships/slideLayout" Target="../slideLayouts/slideLayout178.xml"/><Relationship Id="rId57" Type="http://schemas.openxmlformats.org/officeDocument/2006/relationships/slideLayout" Target="../slideLayouts/slideLayout186.xml"/><Relationship Id="rId10" Type="http://schemas.openxmlformats.org/officeDocument/2006/relationships/slideLayout" Target="../slideLayouts/slideLayout139.xml"/><Relationship Id="rId31" Type="http://schemas.openxmlformats.org/officeDocument/2006/relationships/slideLayout" Target="../slideLayouts/slideLayout160.xml"/><Relationship Id="rId44" Type="http://schemas.openxmlformats.org/officeDocument/2006/relationships/slideLayout" Target="../slideLayouts/slideLayout173.xml"/><Relationship Id="rId52" Type="http://schemas.openxmlformats.org/officeDocument/2006/relationships/slideLayout" Target="../slideLayouts/slideLayout181.xml"/><Relationship Id="rId60" Type="http://schemas.openxmlformats.org/officeDocument/2006/relationships/image" Target="../media/image4.png"/><Relationship Id="rId4" Type="http://schemas.openxmlformats.org/officeDocument/2006/relationships/slideLayout" Target="../slideLayouts/slideLayout133.xml"/><Relationship Id="rId9" Type="http://schemas.openxmlformats.org/officeDocument/2006/relationships/slideLayout" Target="../slideLayouts/slideLayout1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7069" r:id="rId1"/>
    <p:sldLayoutId id="2147487070" r:id="rId2"/>
    <p:sldLayoutId id="2147487071" r:id="rId3"/>
    <p:sldLayoutId id="2147487072" r:id="rId4"/>
    <p:sldLayoutId id="2147487073" r:id="rId5"/>
    <p:sldLayoutId id="2147487074" r:id="rId6"/>
    <p:sldLayoutId id="2147487075" r:id="rId7"/>
    <p:sldLayoutId id="2147487076" r:id="rId8"/>
    <p:sldLayoutId id="2147487077" r:id="rId9"/>
    <p:sldLayoutId id="2147487078" r:id="rId10"/>
    <p:sldLayoutId id="2147487047" r:id="rId11"/>
    <p:sldLayoutId id="2147487048" r:id="rId12"/>
    <p:sldLayoutId id="2147487049" r:id="rId13"/>
    <p:sldLayoutId id="2147487079" r:id="rId14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Medium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Medium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Medium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Medium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Medium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Medium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Medium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Medium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азвание 1"/>
          <p:cNvSpPr txBox="1">
            <a:spLocks/>
          </p:cNvSpPr>
          <p:nvPr/>
        </p:nvSpPr>
        <p:spPr>
          <a:xfrm>
            <a:off x="685800" y="4079875"/>
            <a:ext cx="7772400" cy="133667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altLang="ru-RU" sz="2400" smtClean="0">
                <a:solidFill>
                  <a:schemeClr val="bg1"/>
                </a:solidFill>
                <a:latin typeface="FranklinGothicDemiITC"/>
                <a:ea typeface="FranklinGothicDemiITC"/>
                <a:cs typeface="FranklinGothicDemiITC"/>
              </a:rPr>
              <a:t>СПАСИБО ЗА ВНИМАНИЕ!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506788" y="2333625"/>
            <a:ext cx="2130425" cy="1746250"/>
          </a:xfrm>
          <a:prstGeom prst="rect">
            <a:avLst/>
          </a:prstGeom>
          <a:solidFill>
            <a:srgbClr val="252A5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Dem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Dem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Dem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Dem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Dem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Dem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Dem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Dem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28" tIns="45714" rIns="91428" bIns="45714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0BAA15EB-D184-45D6-BC8F-8F840BDB350F}" type="datetime1">
              <a:rPr lang="ru-RU" smtClean="0"/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28" tIns="45714" rIns="91428" bIns="45714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28" tIns="45714" rIns="91428" bIns="45714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C5A4C08D-6742-47CC-B735-A5B9F49E6A3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grpSp>
        <p:nvGrpSpPr>
          <p:cNvPr id="2054" name="Группа 6"/>
          <p:cNvGrpSpPr>
            <a:grpSpLocks/>
          </p:cNvGrpSpPr>
          <p:nvPr/>
        </p:nvGrpSpPr>
        <p:grpSpPr bwMode="auto">
          <a:xfrm>
            <a:off x="-4763" y="0"/>
            <a:ext cx="9148763" cy="949325"/>
            <a:chOff x="-3766" y="0"/>
            <a:chExt cx="9147766" cy="948909"/>
          </a:xfrm>
        </p:grpSpPr>
        <p:pic>
          <p:nvPicPr>
            <p:cNvPr id="2055" name="Рисунок 7"/>
            <p:cNvPicPr>
              <a:picLocks noChangeAspect="1"/>
            </p:cNvPicPr>
            <p:nvPr/>
          </p:nvPicPr>
          <p:blipFill>
            <a:blip r:embed="rId5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34491" y="0"/>
              <a:ext cx="3209509" cy="8640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9" name="Прямая соединительная линия 8"/>
            <p:cNvCxnSpPr/>
            <p:nvPr/>
          </p:nvCxnSpPr>
          <p:spPr>
            <a:xfrm>
              <a:off x="996" y="864809"/>
              <a:ext cx="914300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/>
            <p:cNvCxnSpPr/>
            <p:nvPr/>
          </p:nvCxnSpPr>
          <p:spPr>
            <a:xfrm>
              <a:off x="996" y="948909"/>
              <a:ext cx="9143004" cy="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58" name="Прямоугольник 10"/>
            <p:cNvGrpSpPr>
              <a:grpSpLocks/>
            </p:cNvGrpSpPr>
            <p:nvPr/>
          </p:nvGrpSpPr>
          <p:grpSpPr bwMode="auto">
            <a:xfrm>
              <a:off x="-10340" y="-5802"/>
              <a:ext cx="9154058" cy="876139"/>
              <a:chOff x="-12192" y="-6096"/>
              <a:chExt cx="10344912" cy="920496"/>
            </a:xfrm>
          </p:grpSpPr>
          <p:pic>
            <p:nvPicPr>
              <p:cNvPr id="2059" name="Прямоугольник 10"/>
              <p:cNvPicPr>
                <a:picLocks noChangeArrowheads="1"/>
              </p:cNvPicPr>
              <p:nvPr/>
            </p:nvPicPr>
            <p:blipFill>
              <a:blip r:embed="rId6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2192" y="-6096"/>
                <a:ext cx="10344912" cy="9204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60" name="Text Box 11"/>
              <p:cNvSpPr txBox="1">
                <a:spLocks noChangeArrowheads="1"/>
              </p:cNvSpPr>
              <p:nvPr/>
            </p:nvSpPr>
            <p:spPr bwMode="auto">
              <a:xfrm rot="10800000">
                <a:off x="-4762" y="0"/>
                <a:ext cx="10334213" cy="906925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rot="10800000" anchor="ctr"/>
              <a:lstStyle>
                <a:lvl1pPr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9pPr>
              </a:lstStyle>
              <a:p>
                <a:pPr algn="ctr" defTabSz="914400">
                  <a:defRPr/>
                </a:pPr>
                <a:endParaRPr lang="ru-RU" altLang="ru-RU" smtClean="0">
                  <a:solidFill>
                    <a:srgbClr val="FFFFFF"/>
                  </a:solidFill>
                  <a:latin typeface="Calibri" pitchFamily="34" charset="0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7050" r:id="rId1"/>
    <p:sldLayoutId id="2147487051" r:id="rId2"/>
    <p:sldLayoutId id="2147487052" r:id="rId3"/>
    <p:sldLayoutId id="2147487053" r:id="rId4"/>
    <p:sldLayoutId id="2147487054" r:id="rId5"/>
    <p:sldLayoutId id="2147487055" r:id="rId6"/>
    <p:sldLayoutId id="2147487056" r:id="rId7"/>
    <p:sldLayoutId id="2147487057" r:id="rId8"/>
    <p:sldLayoutId id="2147487058" r:id="rId9"/>
    <p:sldLayoutId id="2147487059" r:id="rId10"/>
    <p:sldLayoutId id="2147487060" r:id="rId11"/>
    <p:sldLayoutId id="2147487080" r:id="rId12"/>
    <p:sldLayoutId id="2147487081" r:id="rId13"/>
    <p:sldLayoutId id="2147487082" r:id="rId14"/>
    <p:sldLayoutId id="2147487083" r:id="rId15"/>
    <p:sldLayoutId id="2147487061" r:id="rId16"/>
    <p:sldLayoutId id="2147487062" r:id="rId17"/>
    <p:sldLayoutId id="2147487063" r:id="rId18"/>
    <p:sldLayoutId id="2147487064" r:id="rId19"/>
    <p:sldLayoutId id="2147487085" r:id="rId20"/>
    <p:sldLayoutId id="2147487086" r:id="rId21"/>
    <p:sldLayoutId id="2147487087" r:id="rId22"/>
    <p:sldLayoutId id="2147487088" r:id="rId23"/>
    <p:sldLayoutId id="2147487089" r:id="rId24"/>
    <p:sldLayoutId id="2147487090" r:id="rId25"/>
    <p:sldLayoutId id="2147487091" r:id="rId26"/>
    <p:sldLayoutId id="2147487092" r:id="rId27"/>
    <p:sldLayoutId id="2147487093" r:id="rId28"/>
    <p:sldLayoutId id="2147487094" r:id="rId29"/>
    <p:sldLayoutId id="2147487095" r:id="rId30"/>
    <p:sldLayoutId id="2147487096" r:id="rId31"/>
    <p:sldLayoutId id="2147487097" r:id="rId32"/>
    <p:sldLayoutId id="2147487098" r:id="rId33"/>
    <p:sldLayoutId id="2147487099" r:id="rId34"/>
    <p:sldLayoutId id="2147487100" r:id="rId35"/>
    <p:sldLayoutId id="2147487101" r:id="rId36"/>
    <p:sldLayoutId id="2147487102" r:id="rId37"/>
    <p:sldLayoutId id="2147487103" r:id="rId38"/>
    <p:sldLayoutId id="2147487104" r:id="rId39"/>
    <p:sldLayoutId id="2147487105" r:id="rId40"/>
    <p:sldLayoutId id="2147487106" r:id="rId41"/>
    <p:sldLayoutId id="2147487107" r:id="rId42"/>
    <p:sldLayoutId id="2147487108" r:id="rId43"/>
    <p:sldLayoutId id="2147487109" r:id="rId44"/>
    <p:sldLayoutId id="2147487065" r:id="rId45"/>
    <p:sldLayoutId id="2147487066" r:id="rId46"/>
    <p:sldLayoutId id="2147487067" r:id="rId47"/>
    <p:sldLayoutId id="2147487068" r:id="rId48"/>
    <p:sldLayoutId id="2147487110" r:id="rId49"/>
    <p:sldLayoutId id="2147487111" r:id="rId50"/>
    <p:sldLayoutId id="2147487112" r:id="rId51"/>
    <p:sldLayoutId id="2147487113" r:id="rId52"/>
    <p:sldLayoutId id="2147487114" r:id="rId53"/>
    <p:sldLayoutId id="2147487115" r:id="rId54"/>
    <p:sldLayoutId id="2147487116" r:id="rId55"/>
    <p:sldLayoutId id="2147487117" r:id="rId56"/>
    <p:sldLayoutId id="2147487118" r:id="rId57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2813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912813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912813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912813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912813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17241" algn="ctr" defTabSz="914163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834481" algn="ctr" defTabSz="914163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251722" algn="ctr" defTabSz="914163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668963" algn="ctr" defTabSz="914163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1313" indent="-341313" algn="l" defTabSz="9128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defTabSz="9128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413" indent="-227013" algn="l" defTabSz="9128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613" indent="-227013" algn="l" defTabSz="9128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4225" indent="-227013" algn="l" defTabSz="9128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77" indent="-228571" algn="l" defTabSz="91428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18" indent="-228571" algn="l" defTabSz="91428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60" indent="-228571" algn="l" defTabSz="91428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00" indent="-228571" algn="l" defTabSz="91428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1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2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24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65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06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48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89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30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28" tIns="45714" rIns="91428" bIns="45714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0BAA15EB-D184-45D6-BC8F-8F840BDB350F}" type="datetime1">
              <a:rPr lang="ru-RU" smtClean="0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28" tIns="45714" rIns="91428" bIns="45714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28" tIns="45714" rIns="91428" bIns="45714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C5A4C08D-6742-47CC-B735-A5B9F49E6A3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grpSp>
        <p:nvGrpSpPr>
          <p:cNvPr id="2054" name="Группа 6"/>
          <p:cNvGrpSpPr>
            <a:grpSpLocks/>
          </p:cNvGrpSpPr>
          <p:nvPr/>
        </p:nvGrpSpPr>
        <p:grpSpPr bwMode="auto">
          <a:xfrm>
            <a:off x="-4763" y="0"/>
            <a:ext cx="9148763" cy="949325"/>
            <a:chOff x="-3766" y="0"/>
            <a:chExt cx="9147766" cy="948909"/>
          </a:xfrm>
        </p:grpSpPr>
        <p:pic>
          <p:nvPicPr>
            <p:cNvPr id="2055" name="Рисунок 7"/>
            <p:cNvPicPr>
              <a:picLocks noChangeAspect="1"/>
            </p:cNvPicPr>
            <p:nvPr/>
          </p:nvPicPr>
          <p:blipFill>
            <a:blip r:embed="rId6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34491" y="0"/>
              <a:ext cx="3209509" cy="8640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9" name="Прямая соединительная линия 8"/>
            <p:cNvCxnSpPr/>
            <p:nvPr/>
          </p:nvCxnSpPr>
          <p:spPr>
            <a:xfrm>
              <a:off x="996" y="864809"/>
              <a:ext cx="914300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/>
            <p:cNvCxnSpPr/>
            <p:nvPr/>
          </p:nvCxnSpPr>
          <p:spPr>
            <a:xfrm>
              <a:off x="996" y="948909"/>
              <a:ext cx="9143004" cy="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58" name="Прямоугольник 10"/>
            <p:cNvGrpSpPr>
              <a:grpSpLocks/>
            </p:cNvGrpSpPr>
            <p:nvPr/>
          </p:nvGrpSpPr>
          <p:grpSpPr bwMode="auto">
            <a:xfrm>
              <a:off x="-10340" y="-5802"/>
              <a:ext cx="9154058" cy="876139"/>
              <a:chOff x="-12192" y="-6096"/>
              <a:chExt cx="10344912" cy="920496"/>
            </a:xfrm>
          </p:grpSpPr>
          <p:pic>
            <p:nvPicPr>
              <p:cNvPr id="2059" name="Прямоугольник 10"/>
              <p:cNvPicPr>
                <a:picLocks noChangeArrowheads="1"/>
              </p:cNvPicPr>
              <p:nvPr/>
            </p:nvPicPr>
            <p:blipFill>
              <a:blip r:embed="rId6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2192" y="-6096"/>
                <a:ext cx="10344912" cy="9204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60" name="Text Box 11"/>
              <p:cNvSpPr txBox="1">
                <a:spLocks noChangeArrowheads="1"/>
              </p:cNvSpPr>
              <p:nvPr/>
            </p:nvSpPr>
            <p:spPr bwMode="auto">
              <a:xfrm rot="10800000">
                <a:off x="-4762" y="0"/>
                <a:ext cx="10334213" cy="906925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rot="10800000" anchor="ctr"/>
              <a:lstStyle>
                <a:lvl1pPr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9pPr>
              </a:lstStyle>
              <a:p>
                <a:pPr algn="ctr" defTabSz="914400">
                  <a:defRPr/>
                </a:pPr>
                <a:endParaRPr lang="ru-RU" altLang="ru-RU" smtClean="0">
                  <a:solidFill>
                    <a:srgbClr val="FFFFFF"/>
                  </a:solidFill>
                  <a:latin typeface="Calibri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0736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120" r:id="rId1"/>
    <p:sldLayoutId id="2147487121" r:id="rId2"/>
    <p:sldLayoutId id="2147487122" r:id="rId3"/>
    <p:sldLayoutId id="2147487123" r:id="rId4"/>
    <p:sldLayoutId id="2147487124" r:id="rId5"/>
    <p:sldLayoutId id="2147487125" r:id="rId6"/>
    <p:sldLayoutId id="2147487126" r:id="rId7"/>
    <p:sldLayoutId id="2147487127" r:id="rId8"/>
    <p:sldLayoutId id="2147487128" r:id="rId9"/>
    <p:sldLayoutId id="2147487129" r:id="rId10"/>
    <p:sldLayoutId id="2147487130" r:id="rId11"/>
    <p:sldLayoutId id="2147487131" r:id="rId12"/>
    <p:sldLayoutId id="2147487132" r:id="rId13"/>
    <p:sldLayoutId id="2147487133" r:id="rId14"/>
    <p:sldLayoutId id="2147487134" r:id="rId15"/>
    <p:sldLayoutId id="2147487135" r:id="rId16"/>
    <p:sldLayoutId id="2147487136" r:id="rId17"/>
    <p:sldLayoutId id="2147487137" r:id="rId18"/>
    <p:sldLayoutId id="2147487138" r:id="rId19"/>
    <p:sldLayoutId id="2147487139" r:id="rId20"/>
    <p:sldLayoutId id="2147487140" r:id="rId21"/>
    <p:sldLayoutId id="2147487141" r:id="rId22"/>
    <p:sldLayoutId id="2147487142" r:id="rId23"/>
    <p:sldLayoutId id="2147487143" r:id="rId24"/>
    <p:sldLayoutId id="2147487144" r:id="rId25"/>
    <p:sldLayoutId id="2147487145" r:id="rId26"/>
    <p:sldLayoutId id="2147487146" r:id="rId27"/>
    <p:sldLayoutId id="2147487147" r:id="rId28"/>
    <p:sldLayoutId id="2147487148" r:id="rId29"/>
    <p:sldLayoutId id="2147487149" r:id="rId30"/>
    <p:sldLayoutId id="2147487150" r:id="rId31"/>
    <p:sldLayoutId id="2147487151" r:id="rId32"/>
    <p:sldLayoutId id="2147487152" r:id="rId33"/>
    <p:sldLayoutId id="2147487153" r:id="rId34"/>
    <p:sldLayoutId id="2147487154" r:id="rId35"/>
    <p:sldLayoutId id="2147487155" r:id="rId36"/>
    <p:sldLayoutId id="2147487156" r:id="rId37"/>
    <p:sldLayoutId id="2147487157" r:id="rId38"/>
    <p:sldLayoutId id="2147487158" r:id="rId39"/>
    <p:sldLayoutId id="2147487159" r:id="rId40"/>
    <p:sldLayoutId id="2147487160" r:id="rId41"/>
    <p:sldLayoutId id="2147487161" r:id="rId42"/>
    <p:sldLayoutId id="2147487162" r:id="rId43"/>
    <p:sldLayoutId id="2147487163" r:id="rId44"/>
    <p:sldLayoutId id="2147487164" r:id="rId45"/>
    <p:sldLayoutId id="2147487165" r:id="rId46"/>
    <p:sldLayoutId id="2147487166" r:id="rId47"/>
    <p:sldLayoutId id="2147487167" r:id="rId48"/>
    <p:sldLayoutId id="2147487168" r:id="rId49"/>
    <p:sldLayoutId id="2147487169" r:id="rId50"/>
    <p:sldLayoutId id="2147487170" r:id="rId51"/>
    <p:sldLayoutId id="2147487171" r:id="rId52"/>
    <p:sldLayoutId id="2147487172" r:id="rId53"/>
    <p:sldLayoutId id="2147487173" r:id="rId54"/>
    <p:sldLayoutId id="2147487174" r:id="rId55"/>
    <p:sldLayoutId id="2147487175" r:id="rId56"/>
    <p:sldLayoutId id="2147487176" r:id="rId57"/>
    <p:sldLayoutId id="2147487177" r:id="rId58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2813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912813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912813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912813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912813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17241" algn="ctr" defTabSz="914163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834481" algn="ctr" defTabSz="914163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251722" algn="ctr" defTabSz="914163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668963" algn="ctr" defTabSz="914163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1313" indent="-341313" algn="l" defTabSz="9128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defTabSz="9128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413" indent="-227013" algn="l" defTabSz="9128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613" indent="-227013" algn="l" defTabSz="9128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4225" indent="-227013" algn="l" defTabSz="9128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77" indent="-228571" algn="l" defTabSz="91428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18" indent="-228571" algn="l" defTabSz="91428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60" indent="-228571" algn="l" defTabSz="91428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00" indent="-228571" algn="l" defTabSz="91428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1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2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24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65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06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48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89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30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28" tIns="45714" rIns="91428" bIns="45714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2389555E-EE25-4751-8EAB-773B381E8F76}" type="datetime1">
              <a:rPr lang="ru-RU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28" tIns="45714" rIns="91428" bIns="45714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28" tIns="45714" rIns="91428" bIns="45714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C5A4C08D-6742-47CC-B735-A5B9F49E6A3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grpSp>
        <p:nvGrpSpPr>
          <p:cNvPr id="2054" name="Группа 6"/>
          <p:cNvGrpSpPr>
            <a:grpSpLocks/>
          </p:cNvGrpSpPr>
          <p:nvPr/>
        </p:nvGrpSpPr>
        <p:grpSpPr bwMode="auto">
          <a:xfrm>
            <a:off x="-4763" y="0"/>
            <a:ext cx="9148763" cy="949325"/>
            <a:chOff x="-3766" y="0"/>
            <a:chExt cx="9147766" cy="948909"/>
          </a:xfrm>
        </p:grpSpPr>
        <p:pic>
          <p:nvPicPr>
            <p:cNvPr id="2055" name="Рисунок 7"/>
            <p:cNvPicPr>
              <a:picLocks noChangeAspect="1"/>
            </p:cNvPicPr>
            <p:nvPr/>
          </p:nvPicPr>
          <p:blipFill>
            <a:blip r:embed="rId6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34491" y="0"/>
              <a:ext cx="3209509" cy="8640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9" name="Прямая соединительная линия 8"/>
            <p:cNvCxnSpPr/>
            <p:nvPr/>
          </p:nvCxnSpPr>
          <p:spPr>
            <a:xfrm>
              <a:off x="996" y="864809"/>
              <a:ext cx="914300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/>
            <p:cNvCxnSpPr/>
            <p:nvPr/>
          </p:nvCxnSpPr>
          <p:spPr>
            <a:xfrm>
              <a:off x="996" y="948909"/>
              <a:ext cx="9143004" cy="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58" name="Прямоугольник 10"/>
            <p:cNvGrpSpPr>
              <a:grpSpLocks/>
            </p:cNvGrpSpPr>
            <p:nvPr/>
          </p:nvGrpSpPr>
          <p:grpSpPr bwMode="auto">
            <a:xfrm>
              <a:off x="-10340" y="-5802"/>
              <a:ext cx="9154058" cy="876139"/>
              <a:chOff x="-12192" y="-6096"/>
              <a:chExt cx="10344912" cy="920496"/>
            </a:xfrm>
          </p:grpSpPr>
          <p:pic>
            <p:nvPicPr>
              <p:cNvPr id="2059" name="Прямоугольник 10"/>
              <p:cNvPicPr>
                <a:picLocks noChangeArrowheads="1"/>
              </p:cNvPicPr>
              <p:nvPr/>
            </p:nvPicPr>
            <p:blipFill>
              <a:blip r:embed="rId6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2192" y="-6096"/>
                <a:ext cx="10344912" cy="9204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60" name="Text Box 11"/>
              <p:cNvSpPr txBox="1">
                <a:spLocks noChangeArrowheads="1"/>
              </p:cNvSpPr>
              <p:nvPr/>
            </p:nvSpPr>
            <p:spPr bwMode="auto">
              <a:xfrm rot="10800000">
                <a:off x="-4762" y="0"/>
                <a:ext cx="10334213" cy="906925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rot="10800000" anchor="ctr"/>
              <a:lstStyle>
                <a:lvl1pPr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9pPr>
              </a:lstStyle>
              <a:p>
                <a:pPr algn="ctr" defTabSz="914400">
                  <a:defRPr/>
                </a:pPr>
                <a:endParaRPr lang="ru-RU" altLang="ru-RU" smtClean="0">
                  <a:solidFill>
                    <a:srgbClr val="FFFFFF"/>
                  </a:solidFill>
                  <a:latin typeface="Calibri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31727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179" r:id="rId1"/>
    <p:sldLayoutId id="2147487180" r:id="rId2"/>
    <p:sldLayoutId id="2147487181" r:id="rId3"/>
    <p:sldLayoutId id="2147487182" r:id="rId4"/>
    <p:sldLayoutId id="2147487183" r:id="rId5"/>
    <p:sldLayoutId id="2147487184" r:id="rId6"/>
    <p:sldLayoutId id="2147487185" r:id="rId7"/>
    <p:sldLayoutId id="2147487186" r:id="rId8"/>
    <p:sldLayoutId id="2147487187" r:id="rId9"/>
    <p:sldLayoutId id="2147487188" r:id="rId10"/>
    <p:sldLayoutId id="2147487189" r:id="rId11"/>
    <p:sldLayoutId id="2147487190" r:id="rId12"/>
    <p:sldLayoutId id="2147487191" r:id="rId13"/>
    <p:sldLayoutId id="2147487192" r:id="rId14"/>
    <p:sldLayoutId id="2147487193" r:id="rId15"/>
    <p:sldLayoutId id="2147487194" r:id="rId16"/>
    <p:sldLayoutId id="2147487195" r:id="rId17"/>
    <p:sldLayoutId id="2147487196" r:id="rId18"/>
    <p:sldLayoutId id="2147487197" r:id="rId19"/>
    <p:sldLayoutId id="2147487198" r:id="rId20"/>
    <p:sldLayoutId id="2147487199" r:id="rId21"/>
    <p:sldLayoutId id="2147487200" r:id="rId22"/>
    <p:sldLayoutId id="2147487201" r:id="rId23"/>
    <p:sldLayoutId id="2147487202" r:id="rId24"/>
    <p:sldLayoutId id="2147487203" r:id="rId25"/>
    <p:sldLayoutId id="2147487204" r:id="rId26"/>
    <p:sldLayoutId id="2147487205" r:id="rId27"/>
    <p:sldLayoutId id="2147487206" r:id="rId28"/>
    <p:sldLayoutId id="2147487207" r:id="rId29"/>
    <p:sldLayoutId id="2147487208" r:id="rId30"/>
    <p:sldLayoutId id="2147487209" r:id="rId31"/>
    <p:sldLayoutId id="2147487210" r:id="rId32"/>
    <p:sldLayoutId id="2147487211" r:id="rId33"/>
    <p:sldLayoutId id="2147487212" r:id="rId34"/>
    <p:sldLayoutId id="2147487213" r:id="rId35"/>
    <p:sldLayoutId id="2147487214" r:id="rId36"/>
    <p:sldLayoutId id="2147487215" r:id="rId37"/>
    <p:sldLayoutId id="2147487216" r:id="rId38"/>
    <p:sldLayoutId id="2147487217" r:id="rId39"/>
    <p:sldLayoutId id="2147487218" r:id="rId40"/>
    <p:sldLayoutId id="2147487219" r:id="rId41"/>
    <p:sldLayoutId id="2147487220" r:id="rId42"/>
    <p:sldLayoutId id="2147487221" r:id="rId43"/>
    <p:sldLayoutId id="2147487222" r:id="rId44"/>
    <p:sldLayoutId id="2147487223" r:id="rId45"/>
    <p:sldLayoutId id="2147487224" r:id="rId46"/>
    <p:sldLayoutId id="2147487225" r:id="rId47"/>
    <p:sldLayoutId id="2147487226" r:id="rId48"/>
    <p:sldLayoutId id="2147487227" r:id="rId49"/>
    <p:sldLayoutId id="2147487228" r:id="rId50"/>
    <p:sldLayoutId id="2147487229" r:id="rId51"/>
    <p:sldLayoutId id="2147487230" r:id="rId52"/>
    <p:sldLayoutId id="2147487231" r:id="rId53"/>
    <p:sldLayoutId id="2147487232" r:id="rId54"/>
    <p:sldLayoutId id="2147487233" r:id="rId55"/>
    <p:sldLayoutId id="2147487234" r:id="rId56"/>
    <p:sldLayoutId id="2147487235" r:id="rId57"/>
    <p:sldLayoutId id="2147487236" r:id="rId58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912813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912813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912813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912813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912813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17241" algn="ctr" defTabSz="914163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834481" algn="ctr" defTabSz="914163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251722" algn="ctr" defTabSz="914163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668963" algn="ctr" defTabSz="914163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1313" indent="-341313" algn="l" defTabSz="9128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defTabSz="9128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413" indent="-227013" algn="l" defTabSz="9128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613" indent="-227013" algn="l" defTabSz="9128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4225" indent="-227013" algn="l" defTabSz="9128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77" indent="-228571" algn="l" defTabSz="91428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18" indent="-228571" algn="l" defTabSz="91428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60" indent="-228571" algn="l" defTabSz="91428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00" indent="-228571" algn="l" defTabSz="91428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1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2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24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65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06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48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89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30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.xml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2.xml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notesSlide" Target="../notesSlides/notesSlide7.xml"/><Relationship Id="rId7" Type="http://schemas.openxmlformats.org/officeDocument/2006/relationships/diagramColors" Target="../diagrams/colors2.xml"/><Relationship Id="rId2" Type="http://schemas.openxmlformats.org/officeDocument/2006/relationships/slideLayout" Target="../slideLayouts/slideLayout129.xml"/><Relationship Id="rId1" Type="http://schemas.openxmlformats.org/officeDocument/2006/relationships/tags" Target="../tags/tag8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tx2">
                <a:lumMod val="87000"/>
              </a:schemeClr>
            </a:gs>
            <a:gs pos="20000">
              <a:schemeClr val="tx2">
                <a:lumMod val="60000"/>
                <a:lumOff val="4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6" y="3149217"/>
            <a:ext cx="8625160" cy="815812"/>
          </a:xfrm>
        </p:spPr>
        <p:txBody>
          <a:bodyPr/>
          <a:lstStyle/>
          <a:p>
            <a:r>
              <a:rPr lang="ru-RU" sz="20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зарядной инфраструктурой для автономного электротранспорта</a:t>
            </a:r>
            <a:br>
              <a:rPr lang="ru-RU" sz="20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0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299" name="Подзаголовок 2"/>
          <p:cNvSpPr txBox="1">
            <a:spLocks/>
          </p:cNvSpPr>
          <p:nvPr/>
        </p:nvSpPr>
        <p:spPr bwMode="auto">
          <a:xfrm>
            <a:off x="250825" y="6203730"/>
            <a:ext cx="8625162" cy="654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  <a:buFont typeface="Arial" pitchFamily="34" charset="0"/>
              <a:buNone/>
            </a:pPr>
            <a:r>
              <a:rPr lang="ru-RU" altLang="ru-RU" sz="1400" dirty="0" smtClean="0">
                <a:latin typeface="Calibri" pitchFamily="34" charset="0"/>
              </a:rPr>
              <a:t>2015</a:t>
            </a:r>
            <a:r>
              <a:rPr lang="en-US" altLang="ru-RU" sz="1400" dirty="0" smtClean="0">
                <a:latin typeface="Calibri" pitchFamily="34" charset="0"/>
              </a:rPr>
              <a:t> </a:t>
            </a:r>
            <a:r>
              <a:rPr lang="ru-RU" altLang="ru-RU" sz="1400" dirty="0">
                <a:latin typeface="Calibri" pitchFamily="34" charset="0"/>
              </a:rPr>
              <a:t>г.</a:t>
            </a:r>
          </a:p>
          <a:p>
            <a:pPr algn="ctr" eaLnBrk="1" hangingPunct="1">
              <a:spcBef>
                <a:spcPct val="20000"/>
              </a:spcBef>
              <a:buFont typeface="Arial" pitchFamily="34" charset="0"/>
              <a:buNone/>
            </a:pPr>
            <a:r>
              <a:rPr lang="ru-RU" altLang="ru-RU" sz="1400" dirty="0">
                <a:latin typeface="Calibri" pitchFamily="34" charset="0"/>
              </a:rPr>
              <a:t>Москва</a:t>
            </a:r>
          </a:p>
        </p:txBody>
      </p:sp>
      <p:cxnSp>
        <p:nvCxnSpPr>
          <p:cNvPr id="55300" name="Прямая соединительная линия 21"/>
          <p:cNvCxnSpPr>
            <a:cxnSpLocks noChangeShapeType="1"/>
          </p:cNvCxnSpPr>
          <p:nvPr/>
        </p:nvCxnSpPr>
        <p:spPr bwMode="auto">
          <a:xfrm>
            <a:off x="257175" y="5972175"/>
            <a:ext cx="8618809" cy="0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5301" name="Прямая соединительная линия 24"/>
          <p:cNvCxnSpPr>
            <a:cxnSpLocks noChangeShapeType="1"/>
          </p:cNvCxnSpPr>
          <p:nvPr/>
        </p:nvCxnSpPr>
        <p:spPr bwMode="auto">
          <a:xfrm>
            <a:off x="250825" y="2876550"/>
            <a:ext cx="8625161" cy="6350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5302" name="TextBox 2"/>
          <p:cNvSpPr txBox="1">
            <a:spLocks noChangeArrowheads="1"/>
          </p:cNvSpPr>
          <p:nvPr/>
        </p:nvSpPr>
        <p:spPr bwMode="auto">
          <a:xfrm>
            <a:off x="4457700" y="1435100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eaLnBrk="1" hangingPunct="1"/>
            <a:endParaRPr lang="ru-RU" altLang="ru-RU" sz="1200" b="1" i="1">
              <a:solidFill>
                <a:srgbClr val="FFFFFF"/>
              </a:solidFill>
              <a:latin typeface="Franklin Gothic Book" pitchFamily="34" charset="0"/>
            </a:endParaRPr>
          </a:p>
        </p:txBody>
      </p:sp>
      <p:sp>
        <p:nvSpPr>
          <p:cNvPr id="55304" name="Подзаголовок 2"/>
          <p:cNvSpPr txBox="1">
            <a:spLocks/>
          </p:cNvSpPr>
          <p:nvPr/>
        </p:nvSpPr>
        <p:spPr bwMode="auto">
          <a:xfrm>
            <a:off x="257175" y="6696075"/>
            <a:ext cx="9144000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  <a:buFont typeface="Arial" pitchFamily="34" charset="0"/>
              <a:buNone/>
            </a:pPr>
            <a:endParaRPr lang="ru-RU" altLang="ru-RU" sz="1400">
              <a:solidFill>
                <a:srgbClr val="FFFFFF"/>
              </a:solidFill>
              <a:latin typeface="Franklin Gothic Book" pitchFamily="34" charset="0"/>
            </a:endParaRPr>
          </a:p>
        </p:txBody>
      </p:sp>
      <p:pic>
        <p:nvPicPr>
          <p:cNvPr id="5530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3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5306" name="Title 1"/>
          <p:cNvSpPr txBox="1">
            <a:spLocks/>
          </p:cNvSpPr>
          <p:nvPr/>
        </p:nvSpPr>
        <p:spPr bwMode="auto">
          <a:xfrm>
            <a:off x="244471" y="5572563"/>
            <a:ext cx="8625161" cy="399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tabLst>
                <a:tab pos="0" algn="l"/>
                <a:tab pos="444500" algn="l"/>
                <a:tab pos="893763" algn="l"/>
                <a:tab pos="1343025" algn="l"/>
                <a:tab pos="1792288" algn="l"/>
                <a:tab pos="2241550" algn="l"/>
                <a:tab pos="2690813" algn="l"/>
                <a:tab pos="3140075" algn="l"/>
                <a:tab pos="3589338" algn="l"/>
                <a:tab pos="4038600" algn="l"/>
                <a:tab pos="4487863" algn="l"/>
                <a:tab pos="4937125" algn="l"/>
                <a:tab pos="5386388" algn="l"/>
                <a:tab pos="5835650" algn="l"/>
                <a:tab pos="6283325" algn="l"/>
                <a:tab pos="6731000" algn="l"/>
                <a:tab pos="7180263" algn="l"/>
                <a:tab pos="7626350" algn="l"/>
                <a:tab pos="8078788" algn="l"/>
                <a:tab pos="8528050" algn="l"/>
                <a:tab pos="8972550" algn="l"/>
              </a:tabLs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0" algn="l"/>
                <a:tab pos="444500" algn="l"/>
                <a:tab pos="893763" algn="l"/>
                <a:tab pos="1343025" algn="l"/>
                <a:tab pos="1792288" algn="l"/>
                <a:tab pos="2241550" algn="l"/>
                <a:tab pos="2690813" algn="l"/>
                <a:tab pos="3140075" algn="l"/>
                <a:tab pos="3589338" algn="l"/>
                <a:tab pos="4038600" algn="l"/>
                <a:tab pos="4487863" algn="l"/>
                <a:tab pos="4937125" algn="l"/>
                <a:tab pos="5386388" algn="l"/>
                <a:tab pos="5835650" algn="l"/>
                <a:tab pos="6283325" algn="l"/>
                <a:tab pos="6731000" algn="l"/>
                <a:tab pos="7180263" algn="l"/>
                <a:tab pos="7626350" algn="l"/>
                <a:tab pos="8078788" algn="l"/>
                <a:tab pos="8528050" algn="l"/>
                <a:tab pos="8972550" algn="l"/>
              </a:tabLs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0" algn="l"/>
                <a:tab pos="444500" algn="l"/>
                <a:tab pos="893763" algn="l"/>
                <a:tab pos="1343025" algn="l"/>
                <a:tab pos="1792288" algn="l"/>
                <a:tab pos="2241550" algn="l"/>
                <a:tab pos="2690813" algn="l"/>
                <a:tab pos="3140075" algn="l"/>
                <a:tab pos="3589338" algn="l"/>
                <a:tab pos="4038600" algn="l"/>
                <a:tab pos="4487863" algn="l"/>
                <a:tab pos="4937125" algn="l"/>
                <a:tab pos="5386388" algn="l"/>
                <a:tab pos="5835650" algn="l"/>
                <a:tab pos="6283325" algn="l"/>
                <a:tab pos="6731000" algn="l"/>
                <a:tab pos="7180263" algn="l"/>
                <a:tab pos="7626350" algn="l"/>
                <a:tab pos="8078788" algn="l"/>
                <a:tab pos="8528050" algn="l"/>
                <a:tab pos="8972550" algn="l"/>
              </a:tabLs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0" algn="l"/>
                <a:tab pos="444500" algn="l"/>
                <a:tab pos="893763" algn="l"/>
                <a:tab pos="1343025" algn="l"/>
                <a:tab pos="1792288" algn="l"/>
                <a:tab pos="2241550" algn="l"/>
                <a:tab pos="2690813" algn="l"/>
                <a:tab pos="3140075" algn="l"/>
                <a:tab pos="3589338" algn="l"/>
                <a:tab pos="4038600" algn="l"/>
                <a:tab pos="4487863" algn="l"/>
                <a:tab pos="4937125" algn="l"/>
                <a:tab pos="5386388" algn="l"/>
                <a:tab pos="5835650" algn="l"/>
                <a:tab pos="6283325" algn="l"/>
                <a:tab pos="6731000" algn="l"/>
                <a:tab pos="7180263" algn="l"/>
                <a:tab pos="7626350" algn="l"/>
                <a:tab pos="8078788" algn="l"/>
                <a:tab pos="8528050" algn="l"/>
                <a:tab pos="8972550" algn="l"/>
              </a:tabLs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0" algn="l"/>
                <a:tab pos="444500" algn="l"/>
                <a:tab pos="893763" algn="l"/>
                <a:tab pos="1343025" algn="l"/>
                <a:tab pos="1792288" algn="l"/>
                <a:tab pos="2241550" algn="l"/>
                <a:tab pos="2690813" algn="l"/>
                <a:tab pos="3140075" algn="l"/>
                <a:tab pos="3589338" algn="l"/>
                <a:tab pos="4038600" algn="l"/>
                <a:tab pos="4487863" algn="l"/>
                <a:tab pos="4937125" algn="l"/>
                <a:tab pos="5386388" algn="l"/>
                <a:tab pos="5835650" algn="l"/>
                <a:tab pos="6283325" algn="l"/>
                <a:tab pos="6731000" algn="l"/>
                <a:tab pos="7180263" algn="l"/>
                <a:tab pos="7626350" algn="l"/>
                <a:tab pos="8078788" algn="l"/>
                <a:tab pos="8528050" algn="l"/>
                <a:tab pos="8972550" algn="l"/>
              </a:tabLs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4500" algn="l"/>
                <a:tab pos="893763" algn="l"/>
                <a:tab pos="1343025" algn="l"/>
                <a:tab pos="1792288" algn="l"/>
                <a:tab pos="2241550" algn="l"/>
                <a:tab pos="2690813" algn="l"/>
                <a:tab pos="3140075" algn="l"/>
                <a:tab pos="3589338" algn="l"/>
                <a:tab pos="4038600" algn="l"/>
                <a:tab pos="4487863" algn="l"/>
                <a:tab pos="4937125" algn="l"/>
                <a:tab pos="5386388" algn="l"/>
                <a:tab pos="5835650" algn="l"/>
                <a:tab pos="6283325" algn="l"/>
                <a:tab pos="6731000" algn="l"/>
                <a:tab pos="7180263" algn="l"/>
                <a:tab pos="7626350" algn="l"/>
                <a:tab pos="8078788" algn="l"/>
                <a:tab pos="8528050" algn="l"/>
                <a:tab pos="8972550" algn="l"/>
              </a:tabLs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4500" algn="l"/>
                <a:tab pos="893763" algn="l"/>
                <a:tab pos="1343025" algn="l"/>
                <a:tab pos="1792288" algn="l"/>
                <a:tab pos="2241550" algn="l"/>
                <a:tab pos="2690813" algn="l"/>
                <a:tab pos="3140075" algn="l"/>
                <a:tab pos="3589338" algn="l"/>
                <a:tab pos="4038600" algn="l"/>
                <a:tab pos="4487863" algn="l"/>
                <a:tab pos="4937125" algn="l"/>
                <a:tab pos="5386388" algn="l"/>
                <a:tab pos="5835650" algn="l"/>
                <a:tab pos="6283325" algn="l"/>
                <a:tab pos="6731000" algn="l"/>
                <a:tab pos="7180263" algn="l"/>
                <a:tab pos="7626350" algn="l"/>
                <a:tab pos="8078788" algn="l"/>
                <a:tab pos="8528050" algn="l"/>
                <a:tab pos="8972550" algn="l"/>
              </a:tabLs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4500" algn="l"/>
                <a:tab pos="893763" algn="l"/>
                <a:tab pos="1343025" algn="l"/>
                <a:tab pos="1792288" algn="l"/>
                <a:tab pos="2241550" algn="l"/>
                <a:tab pos="2690813" algn="l"/>
                <a:tab pos="3140075" algn="l"/>
                <a:tab pos="3589338" algn="l"/>
                <a:tab pos="4038600" algn="l"/>
                <a:tab pos="4487863" algn="l"/>
                <a:tab pos="4937125" algn="l"/>
                <a:tab pos="5386388" algn="l"/>
                <a:tab pos="5835650" algn="l"/>
                <a:tab pos="6283325" algn="l"/>
                <a:tab pos="6731000" algn="l"/>
                <a:tab pos="7180263" algn="l"/>
                <a:tab pos="7626350" algn="l"/>
                <a:tab pos="8078788" algn="l"/>
                <a:tab pos="8528050" algn="l"/>
                <a:tab pos="8972550" algn="l"/>
              </a:tabLs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4500" algn="l"/>
                <a:tab pos="893763" algn="l"/>
                <a:tab pos="1343025" algn="l"/>
                <a:tab pos="1792288" algn="l"/>
                <a:tab pos="2241550" algn="l"/>
                <a:tab pos="2690813" algn="l"/>
                <a:tab pos="3140075" algn="l"/>
                <a:tab pos="3589338" algn="l"/>
                <a:tab pos="4038600" algn="l"/>
                <a:tab pos="4487863" algn="l"/>
                <a:tab pos="4937125" algn="l"/>
                <a:tab pos="5386388" algn="l"/>
                <a:tab pos="5835650" algn="l"/>
                <a:tab pos="6283325" algn="l"/>
                <a:tab pos="6731000" algn="l"/>
                <a:tab pos="7180263" algn="l"/>
                <a:tab pos="7626350" algn="l"/>
                <a:tab pos="8078788" algn="l"/>
                <a:tab pos="8528050" algn="l"/>
                <a:tab pos="8972550" algn="l"/>
              </a:tabLs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ts val="600"/>
              </a:spcBef>
            </a:pPr>
            <a:r>
              <a:rPr lang="ru-RU" altLang="ru-RU" sz="1400" dirty="0" smtClean="0">
                <a:latin typeface="Arial" pitchFamily="34" charset="0"/>
              </a:rPr>
              <a:t>АО «НИЦ ЕЭС»</a:t>
            </a:r>
            <a:endParaRPr lang="ru-RU" altLang="ru-RU" sz="1400" dirty="0">
              <a:latin typeface="Arial" pitchFamily="34" charset="0"/>
            </a:endParaRPr>
          </a:p>
        </p:txBody>
      </p:sp>
      <p:pic>
        <p:nvPicPr>
          <p:cNvPr id="21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64" t="21138" r="23189" b="19830"/>
          <a:stretch>
            <a:fillRect/>
          </a:stretch>
        </p:blipFill>
        <p:spPr bwMode="auto">
          <a:xfrm>
            <a:off x="3834361" y="1119188"/>
            <a:ext cx="1419563" cy="1413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2" name="Прямая соединительная линия 21"/>
          <p:cNvCxnSpPr>
            <a:cxnSpLocks noChangeShapeType="1"/>
          </p:cNvCxnSpPr>
          <p:nvPr/>
        </p:nvCxnSpPr>
        <p:spPr bwMode="auto">
          <a:xfrm>
            <a:off x="250823" y="4153885"/>
            <a:ext cx="8618809" cy="0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8" name="Прямоугольник 17"/>
          <p:cNvSpPr/>
          <p:nvPr/>
        </p:nvSpPr>
        <p:spPr>
          <a:xfrm>
            <a:off x="257174" y="4421688"/>
            <a:ext cx="861245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latin typeface="Arial" panose="020B0604020202020204" pitchFamily="34" charset="0"/>
              </a:rPr>
              <a:t>Семинар «Электротранспорт и зарядная инфраструктура»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515386" cy="365125"/>
          </a:xfrm>
        </p:spPr>
        <p:txBody>
          <a:bodyPr/>
          <a:lstStyle/>
          <a:p>
            <a:pPr>
              <a:defRPr/>
            </a:pPr>
            <a:fld id="{E4A4942A-E23F-465F-BC82-D72C369FFA16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  <p:sp>
        <p:nvSpPr>
          <p:cNvPr id="6" name="TextBox 5"/>
          <p:cNvSpPr txBox="1"/>
          <p:nvPr>
            <p:custDataLst>
              <p:tags r:id="rId1"/>
            </p:custDataLst>
          </p:nvPr>
        </p:nvSpPr>
        <p:spPr>
          <a:xfrm>
            <a:off x="214063" y="0"/>
            <a:ext cx="5783286" cy="772904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3000"/>
              </a:lnSpc>
              <a:buClr>
                <a:srgbClr val="EBC65B"/>
              </a:buClr>
              <a:buFont typeface="Wingdings" pitchFamily="2" charset="2"/>
              <a:buNone/>
            </a:pPr>
            <a:endParaRPr lang="ru-RU" b="1" dirty="0" smtClean="0">
              <a:solidFill>
                <a:srgbClr val="003399"/>
              </a:solidFill>
              <a:latin typeface="Calibri" pitchFamily="34" charset="0"/>
            </a:endParaRPr>
          </a:p>
          <a:p>
            <a:pPr>
              <a:lnSpc>
                <a:spcPct val="93000"/>
              </a:lnSpc>
              <a:buClr>
                <a:srgbClr val="EBC65B"/>
              </a:buClr>
              <a:buFont typeface="Wingdings" pitchFamily="2" charset="2"/>
              <a:buNone/>
            </a:pPr>
            <a:r>
              <a:rPr lang="ru-RU" b="1" dirty="0" smtClean="0">
                <a:solidFill>
                  <a:srgbClr val="003399"/>
                </a:solidFill>
                <a:latin typeface="Calibri" pitchFamily="34" charset="0"/>
              </a:rPr>
              <a:t>Основные организационные документы по вопросу создания Коммерческого оператора</a:t>
            </a:r>
          </a:p>
        </p:txBody>
      </p:sp>
      <p:sp>
        <p:nvSpPr>
          <p:cNvPr id="9" name="Нашивка 8"/>
          <p:cNvSpPr/>
          <p:nvPr/>
        </p:nvSpPr>
        <p:spPr>
          <a:xfrm rot="5400000">
            <a:off x="3595109" y="-2344097"/>
            <a:ext cx="1916324" cy="8678416"/>
          </a:xfrm>
          <a:prstGeom prst="chevron">
            <a:avLst>
              <a:gd name="adj" fmla="val 28399"/>
            </a:avLst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50000">
                <a:schemeClr val="bg1"/>
              </a:gs>
              <a:gs pos="100000">
                <a:schemeClr val="tx2">
                  <a:lumMod val="40000"/>
                  <a:lumOff val="60000"/>
                </a:schemeClr>
              </a:gs>
            </a:gsLst>
            <a:lin ang="162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endParaRPr lang="ru-RU" sz="1600" dirty="0" smtClean="0">
              <a:solidFill>
                <a:prstClr val="black"/>
              </a:solidFill>
            </a:endParaRPr>
          </a:p>
          <a:p>
            <a:pPr algn="ctr"/>
            <a:r>
              <a:rPr lang="ru-RU" sz="1600" dirty="0" smtClean="0">
                <a:solidFill>
                  <a:prstClr val="black"/>
                </a:solidFill>
              </a:rPr>
              <a:t>Приказ </a:t>
            </a:r>
            <a:r>
              <a:rPr lang="ru-RU" sz="1600" dirty="0">
                <a:solidFill>
                  <a:prstClr val="black"/>
                </a:solidFill>
              </a:rPr>
              <a:t>ОАО «Россети» № 412 от 17.07.2013 г. </a:t>
            </a:r>
          </a:p>
          <a:p>
            <a:pPr algn="ctr"/>
            <a:r>
              <a:rPr lang="ru-RU" sz="1600" dirty="0">
                <a:solidFill>
                  <a:prstClr val="black"/>
                </a:solidFill>
              </a:rPr>
              <a:t>Об утверждении Всероссийской программы развития зарядной инфраструктуры для электротранспорта</a:t>
            </a:r>
            <a:r>
              <a:rPr lang="ru-RU" sz="1600" dirty="0" smtClean="0">
                <a:solidFill>
                  <a:prstClr val="black"/>
                </a:solidFill>
              </a:rPr>
              <a:t>.</a:t>
            </a:r>
          </a:p>
          <a:p>
            <a:pPr algn="ctr"/>
            <a:r>
              <a:rPr lang="ru-RU" sz="1600" dirty="0" smtClean="0">
                <a:solidFill>
                  <a:prstClr val="black"/>
                </a:solidFill>
              </a:rPr>
              <a:t>(далее - Программа)</a:t>
            </a:r>
            <a:endParaRPr lang="ru-RU" sz="1600" dirty="0">
              <a:solidFill>
                <a:prstClr val="black"/>
              </a:solidFill>
            </a:endParaRPr>
          </a:p>
        </p:txBody>
      </p:sp>
      <p:sp>
        <p:nvSpPr>
          <p:cNvPr id="12" name="Нашивка 11"/>
          <p:cNvSpPr/>
          <p:nvPr/>
        </p:nvSpPr>
        <p:spPr>
          <a:xfrm rot="5400000">
            <a:off x="3602506" y="-553462"/>
            <a:ext cx="1901530" cy="8678416"/>
          </a:xfrm>
          <a:prstGeom prst="chevron">
            <a:avLst>
              <a:gd name="adj" fmla="val 28399"/>
            </a:avLst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50000">
                <a:schemeClr val="bg1"/>
              </a:gs>
              <a:gs pos="100000">
                <a:schemeClr val="tx2">
                  <a:lumMod val="40000"/>
                  <a:lumOff val="60000"/>
                </a:schemeClr>
              </a:gs>
            </a:gsLst>
            <a:lin ang="162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endParaRPr lang="ru-RU" sz="1200" dirty="0" smtClean="0">
              <a:solidFill>
                <a:prstClr val="black"/>
              </a:solidFill>
            </a:endParaRPr>
          </a:p>
          <a:p>
            <a:pPr algn="ctr"/>
            <a:r>
              <a:rPr lang="ru-RU" sz="1600" dirty="0" smtClean="0">
                <a:solidFill>
                  <a:prstClr val="black"/>
                </a:solidFill>
                <a:cs typeface="Arial" pitchFamily="34" charset="0"/>
              </a:rPr>
              <a:t>Распоряжение ОАО «</a:t>
            </a:r>
            <a:r>
              <a:rPr lang="ru-RU" sz="1600" dirty="0" err="1" smtClean="0">
                <a:solidFill>
                  <a:prstClr val="black"/>
                </a:solidFill>
                <a:cs typeface="Arial" pitchFamily="34" charset="0"/>
              </a:rPr>
              <a:t>Россети</a:t>
            </a:r>
            <a:r>
              <a:rPr lang="ru-RU" sz="1600" dirty="0" smtClean="0">
                <a:solidFill>
                  <a:prstClr val="black"/>
                </a:solidFill>
                <a:cs typeface="Arial" pitchFamily="34" charset="0"/>
              </a:rPr>
              <a:t>» № 172р от 13.04.2015</a:t>
            </a:r>
          </a:p>
          <a:p>
            <a:pPr algn="ctr"/>
            <a:r>
              <a:rPr lang="ru-RU" sz="1600" dirty="0" smtClean="0">
                <a:solidFill>
                  <a:prstClr val="black"/>
                </a:solidFill>
                <a:cs typeface="Arial" pitchFamily="34" charset="0"/>
              </a:rPr>
              <a:t>Об организации деятельности по эксплуатации зарядной инфраструктуры для электротранспорта ДЗО ОАО «</a:t>
            </a:r>
            <a:r>
              <a:rPr lang="ru-RU" sz="1600" dirty="0" err="1" smtClean="0">
                <a:solidFill>
                  <a:prstClr val="black"/>
                </a:solidFill>
                <a:cs typeface="Arial" pitchFamily="34" charset="0"/>
              </a:rPr>
              <a:t>Россети</a:t>
            </a:r>
            <a:r>
              <a:rPr lang="ru-RU" sz="1600" dirty="0" smtClean="0">
                <a:solidFill>
                  <a:prstClr val="black"/>
                </a:solidFill>
                <a:cs typeface="Arial" pitchFamily="34" charset="0"/>
              </a:rPr>
              <a:t>»</a:t>
            </a:r>
          </a:p>
        </p:txBody>
      </p:sp>
      <p:sp>
        <p:nvSpPr>
          <p:cNvPr id="13" name="Нашивка 12"/>
          <p:cNvSpPr/>
          <p:nvPr/>
        </p:nvSpPr>
        <p:spPr>
          <a:xfrm rot="5400000">
            <a:off x="3595109" y="1333927"/>
            <a:ext cx="1916324" cy="8678416"/>
          </a:xfrm>
          <a:prstGeom prst="chevron">
            <a:avLst>
              <a:gd name="adj" fmla="val 28399"/>
            </a:avLst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50000">
                <a:schemeClr val="bg1"/>
              </a:gs>
              <a:gs pos="100000">
                <a:schemeClr val="tx2">
                  <a:lumMod val="40000"/>
                  <a:lumOff val="60000"/>
                </a:schemeClr>
              </a:gs>
            </a:gsLst>
            <a:lin ang="162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endParaRPr lang="ru-RU" sz="1600" dirty="0" smtClean="0">
              <a:solidFill>
                <a:prstClr val="black"/>
              </a:solidFill>
            </a:endParaRPr>
          </a:p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Концепция ОАО </a:t>
            </a:r>
            <a:r>
              <a:rPr lang="ru-RU" sz="1600" dirty="0">
                <a:solidFill>
                  <a:schemeClr val="tx1"/>
                </a:solidFill>
              </a:rPr>
              <a:t>«</a:t>
            </a:r>
            <a:r>
              <a:rPr lang="ru-RU" sz="1600" dirty="0" err="1">
                <a:solidFill>
                  <a:schemeClr val="tx1"/>
                </a:solidFill>
              </a:rPr>
              <a:t>Россети</a:t>
            </a:r>
            <a:r>
              <a:rPr lang="ru-RU" sz="1600" dirty="0">
                <a:solidFill>
                  <a:schemeClr val="tx1"/>
                </a:solidFill>
              </a:rPr>
              <a:t>» по созданию коммерческого </a:t>
            </a:r>
            <a:r>
              <a:rPr lang="ru-RU" sz="1600" dirty="0" smtClean="0">
                <a:solidFill>
                  <a:schemeClr val="tx1"/>
                </a:solidFill>
              </a:rPr>
              <a:t>оператора</a:t>
            </a:r>
          </a:p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зарядной </a:t>
            </a:r>
            <a:r>
              <a:rPr lang="ru-RU" sz="1600" dirty="0">
                <a:solidFill>
                  <a:schemeClr val="tx1"/>
                </a:solidFill>
              </a:rPr>
              <a:t>инфраструктуры для </a:t>
            </a:r>
            <a:r>
              <a:rPr lang="ru-RU" sz="1600" dirty="0" smtClean="0">
                <a:solidFill>
                  <a:schemeClr val="tx1"/>
                </a:solidFill>
              </a:rPr>
              <a:t>электротранспорта</a:t>
            </a:r>
          </a:p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(в стадии разработки)</a:t>
            </a:r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8624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4A4942A-E23F-465F-BC82-D72C369FFA16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5496" y="260648"/>
            <a:ext cx="5743079" cy="51526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93000"/>
              </a:lnSpc>
              <a:spcAft>
                <a:spcPct val="30000"/>
              </a:spcAft>
              <a:buClr>
                <a:srgbClr val="EBC65B"/>
              </a:buClr>
              <a:buFont typeface="Wingdings" pitchFamily="2" charset="2"/>
              <a:buNone/>
            </a:pPr>
            <a:r>
              <a:rPr lang="ru-RU" b="1" dirty="0" smtClean="0">
                <a:solidFill>
                  <a:srgbClr val="004990"/>
                </a:solidFill>
                <a:latin typeface="Calibri" pitchFamily="34" charset="0"/>
              </a:rPr>
              <a:t>Бизнес-модель </a:t>
            </a:r>
            <a:r>
              <a:rPr lang="ru-RU" b="1" dirty="0">
                <a:solidFill>
                  <a:srgbClr val="004990"/>
                </a:solidFill>
                <a:latin typeface="Calibri" pitchFamily="34" charset="0"/>
              </a:rPr>
              <a:t>создания и эксплуатации зарядной </a:t>
            </a:r>
            <a:r>
              <a:rPr lang="ru-RU" b="1" dirty="0" smtClean="0">
                <a:solidFill>
                  <a:srgbClr val="004990"/>
                </a:solidFill>
                <a:latin typeface="Calibri" pitchFamily="34" charset="0"/>
              </a:rPr>
              <a:t>инфраструктуры предусмотренная Программой</a:t>
            </a:r>
            <a:endParaRPr lang="en-US" b="1" dirty="0">
              <a:solidFill>
                <a:srgbClr val="004990"/>
              </a:solidFill>
              <a:latin typeface="Calibri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50999" y="989438"/>
            <a:ext cx="8870453" cy="14927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</a:schemeClr>
              </a:gs>
              <a:gs pos="29000">
                <a:schemeClr val="tx2">
                  <a:lumMod val="40000"/>
                  <a:lumOff val="60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lvl="0" algn="just" defTabSz="914400"/>
            <a:r>
              <a:rPr lang="ru-RU" altLang="ru-RU" sz="1300" b="1" i="1" dirty="0">
                <a:solidFill>
                  <a:prstClr val="black"/>
                </a:solidFill>
                <a:ea typeface="Times New Roman" pitchFamily="18" charset="0"/>
              </a:rPr>
              <a:t>В рамках </a:t>
            </a:r>
            <a:r>
              <a:rPr lang="ru-RU" altLang="ru-RU" sz="1300" b="1" i="1" dirty="0" smtClean="0">
                <a:solidFill>
                  <a:prstClr val="black"/>
                </a:solidFill>
                <a:ea typeface="Times New Roman" pitchFamily="18" charset="0"/>
              </a:rPr>
              <a:t>Программы </a:t>
            </a:r>
            <a:r>
              <a:rPr lang="ru-RU" altLang="ru-RU" sz="1300" b="1" i="1" dirty="0">
                <a:solidFill>
                  <a:prstClr val="black"/>
                </a:solidFill>
                <a:ea typeface="Times New Roman" pitchFamily="18" charset="0"/>
              </a:rPr>
              <a:t>рассматривается реализация нерегулируемый бизнес-модели. Все проекты Программы, связанные с создание зарядной инфраструктуры, </a:t>
            </a:r>
            <a:r>
              <a:rPr lang="ru-RU" altLang="ru-RU" sz="1300" b="1" i="1" dirty="0" smtClean="0">
                <a:solidFill>
                  <a:prstClr val="black"/>
                </a:solidFill>
                <a:ea typeface="Times New Roman" pitchFamily="18" charset="0"/>
              </a:rPr>
              <a:t>на дату семинара реализованы </a:t>
            </a:r>
            <a:r>
              <a:rPr lang="ru-RU" altLang="ru-RU" sz="1300" b="1" i="1" dirty="0">
                <a:solidFill>
                  <a:prstClr val="black"/>
                </a:solidFill>
                <a:ea typeface="Times New Roman" pitchFamily="18" charset="0"/>
              </a:rPr>
              <a:t>именно в соответствии с этой бизнес-моделью.</a:t>
            </a:r>
            <a:endParaRPr lang="ru-RU" altLang="ru-RU" sz="1200" b="1" dirty="0">
              <a:solidFill>
                <a:prstClr val="black"/>
              </a:solidFill>
              <a:ea typeface="MS Gothic" pitchFamily="49" charset="-128"/>
              <a:cs typeface="Times New Roman" pitchFamily="18" charset="0"/>
            </a:endParaRPr>
          </a:p>
          <a:p>
            <a:pPr lvl="0" algn="just" defTabSz="914400" eaLnBrk="0" hangingPunct="0"/>
            <a:r>
              <a:rPr lang="ru-RU" altLang="ru-RU" sz="1300" b="1" dirty="0" smtClean="0">
                <a:solidFill>
                  <a:prstClr val="black"/>
                </a:solidFill>
                <a:ea typeface="Times New Roman" pitchFamily="18" charset="0"/>
              </a:rPr>
              <a:t>В </a:t>
            </a:r>
            <a:r>
              <a:rPr lang="ru-RU" altLang="ru-RU" sz="1300" b="1" dirty="0">
                <a:solidFill>
                  <a:prstClr val="black"/>
                </a:solidFill>
                <a:ea typeface="Times New Roman" pitchFamily="18" charset="0"/>
              </a:rPr>
              <a:t>рамках данной модели электросетевая компания является владельцем зарядной инфраструктуры. </a:t>
            </a:r>
            <a:endParaRPr lang="ru-RU" altLang="ru-RU" sz="1300" b="1" dirty="0" smtClean="0">
              <a:solidFill>
                <a:prstClr val="black"/>
              </a:solidFill>
              <a:ea typeface="Times New Roman" pitchFamily="18" charset="0"/>
            </a:endParaRPr>
          </a:p>
          <a:p>
            <a:pPr lvl="0" algn="just" defTabSz="914400" eaLnBrk="0" hangingPunct="0"/>
            <a:r>
              <a:rPr lang="ru-RU" altLang="ru-RU" sz="1300" dirty="0" smtClean="0">
                <a:solidFill>
                  <a:prstClr val="black"/>
                </a:solidFill>
                <a:ea typeface="Times New Roman" pitchFamily="18" charset="0"/>
              </a:rPr>
              <a:t>Для </a:t>
            </a:r>
            <a:r>
              <a:rPr lang="ru-RU" altLang="ru-RU" sz="1300" dirty="0">
                <a:solidFill>
                  <a:prstClr val="black"/>
                </a:solidFill>
                <a:ea typeface="Times New Roman" pitchFamily="18" charset="0"/>
              </a:rPr>
              <a:t>эффективной работы на конкурентном рынке привлекается коммерческий оператор, который оказывает конечным потребителям услуги по зарядке и осуществляет взаиморасчеты с ВКН на территории которых размещается зарядная инфраструктура. Сетевая компания выступает в роли технологического оператора зарядной инфраструктуры.</a:t>
            </a:r>
            <a:endParaRPr lang="ru-RU" altLang="ru-RU" sz="600" dirty="0">
              <a:solidFill>
                <a:prstClr val="black"/>
              </a:solidFill>
            </a:endParaRPr>
          </a:p>
        </p:txBody>
      </p:sp>
      <p:pic>
        <p:nvPicPr>
          <p:cNvPr id="1028" name="Рисунок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2700780"/>
            <a:ext cx="6126110" cy="353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6"/>
          <p:cNvSpPr>
            <a:spLocks noChangeArrowheads="1"/>
          </p:cNvSpPr>
          <p:nvPr/>
        </p:nvSpPr>
        <p:spPr bwMode="auto">
          <a:xfrm rot="10800000" flipV="1">
            <a:off x="6052009" y="2797432"/>
            <a:ext cx="3091991" cy="36009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Рисунок №1.- Нерегулируемая бизнес-модель</a:t>
            </a:r>
            <a:endParaRPr kumimoji="0" lang="ru-RU" alt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1 - договора оказания услуг по зарядке тяговых батарей электромобиля</a:t>
            </a:r>
            <a:endParaRPr kumimoji="0" lang="ru-RU" alt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2 - договора аренды площади для размещения зарядной инфраструктуры</a:t>
            </a:r>
            <a:endParaRPr kumimoji="0" lang="ru-RU" alt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3 - договор на создание и коммерческое управление сетью зарядных станций</a:t>
            </a:r>
            <a:endParaRPr kumimoji="0" lang="ru-RU" alt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kumimoji="0" lang="ru-RU" alt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В зависимости от сценария реализации данной модели роли по строительству и техническому обслуживанию сети зарядных станций могут быть как на стороне Коммерческого оператора, так и на стороне Технологического оператора (выделено на рисунке серым цветом).</a:t>
            </a:r>
            <a:endParaRPr kumimoji="0" lang="ru-RU" alt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В данной модели услуга по зарядке тяговых батарей электромобиля это нерегулируемый вид деятельности. </a:t>
            </a:r>
            <a:endParaRPr kumimoji="0" lang="ru-RU" alt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6999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8"/>
          <p:cNvSpPr txBox="1"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27114" y="188640"/>
            <a:ext cx="4848942" cy="51526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93000"/>
              </a:lnSpc>
              <a:spcAft>
                <a:spcPct val="30000"/>
              </a:spcAft>
              <a:buClr>
                <a:srgbClr val="EBC65B"/>
              </a:buClr>
            </a:pPr>
            <a:r>
              <a:rPr lang="ru-RU" sz="1800" b="1" dirty="0" smtClean="0">
                <a:solidFill>
                  <a:srgbClr val="004990"/>
                </a:solidFill>
                <a:latin typeface="Calibri" pitchFamily="34" charset="0"/>
              </a:rPr>
              <a:t>Мировой опыт эксплуатации зарядной инфраструктуры</a:t>
            </a:r>
          </a:p>
        </p:txBody>
      </p:sp>
      <p:graphicFrame>
        <p:nvGraphicFramePr>
          <p:cNvPr id="8" name="Объект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0919971"/>
              </p:ext>
            </p:extLst>
          </p:nvPr>
        </p:nvGraphicFramePr>
        <p:xfrm>
          <a:off x="2016272" y="1242060"/>
          <a:ext cx="5004000" cy="4084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52000"/>
                <a:gridCol w="1476000"/>
                <a:gridCol w="14760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Энергетическая компания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1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Технологический оператор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1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Коммерческий оператор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1F5"/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marL="176213" indent="0" algn="l"/>
                      <a:r>
                        <a:rPr lang="ru-RU" sz="1400" b="1" dirty="0" smtClean="0">
                          <a:latin typeface="Arial Narrow" panose="020B0606020202030204" pitchFamily="34" charset="0"/>
                        </a:rPr>
                        <a:t>Европа:</a:t>
                      </a:r>
                      <a:endParaRPr lang="ru-RU" sz="1400" b="1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marL="360363" indent="0" algn="l"/>
                      <a:r>
                        <a:rPr lang="en-US" sz="1400" dirty="0" smtClean="0">
                          <a:latin typeface="Arial Narrow" panose="020B0606020202030204" pitchFamily="34" charset="0"/>
                        </a:rPr>
                        <a:t>EDF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Да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Да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marL="360363" indent="0" algn="l"/>
                      <a:r>
                        <a:rPr lang="en-US" sz="1400" dirty="0" smtClean="0">
                          <a:latin typeface="Arial Narrow" panose="020B0606020202030204" pitchFamily="34" charset="0"/>
                        </a:rPr>
                        <a:t>RWE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Да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Да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marL="360363" indent="0" algn="l"/>
                      <a:r>
                        <a:rPr lang="en-US" sz="1400" dirty="0" err="1" smtClean="0">
                          <a:latin typeface="Arial Narrow" panose="020B0606020202030204" pitchFamily="34" charset="0"/>
                        </a:rPr>
                        <a:t>Enel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Да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Да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marL="360363" indent="0" algn="l">
                        <a:tabLst>
                          <a:tab pos="442913" algn="l"/>
                        </a:tabLst>
                      </a:pPr>
                      <a:r>
                        <a:rPr lang="en-US" sz="1400" dirty="0" err="1" smtClean="0">
                          <a:latin typeface="Arial Narrow" panose="020B0606020202030204" pitchFamily="34" charset="0"/>
                        </a:rPr>
                        <a:t>Endesa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Да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Да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marL="360363" indent="0" algn="l"/>
                      <a:r>
                        <a:rPr lang="en-US" sz="1400" dirty="0" smtClean="0">
                          <a:latin typeface="Arial Narrow" panose="020B0606020202030204" pitchFamily="34" charset="0"/>
                        </a:rPr>
                        <a:t>E.ON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Да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Да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marL="360363" indent="0" algn="l"/>
                      <a:r>
                        <a:rPr lang="en-US" sz="1400" b="0" i="0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CEZ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Да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Да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marL="360363" indent="0" algn="l"/>
                      <a:r>
                        <a:rPr lang="en-US" sz="1400" b="0" i="0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GDF-Suez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Да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Да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marL="360363" indent="0" algn="l"/>
                      <a:r>
                        <a:rPr lang="en-US" sz="14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GasNatural</a:t>
                      </a:r>
                      <a:r>
                        <a:rPr lang="en-US" sz="1400" b="0" i="0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Fenosa</a:t>
                      </a:r>
                      <a:r>
                        <a:rPr lang="en-US" sz="1400" b="0" i="0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Да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Да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marL="176213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76213" algn="l"/>
                        </a:tabLst>
                        <a:defRPr/>
                      </a:pPr>
                      <a:r>
                        <a:rPr lang="ru-RU" sz="1400" b="1" dirty="0" smtClean="0">
                          <a:latin typeface="Arial Narrow" panose="020B0606020202030204" pitchFamily="34" charset="0"/>
                        </a:rPr>
                        <a:t>Россия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b="1" dirty="0">
                        <a:solidFill>
                          <a:srgbClr val="C0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marL="360363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Россети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Да</a:t>
                      </a:r>
                    </a:p>
                    <a:p>
                      <a:pPr algn="ctr"/>
                      <a:r>
                        <a:rPr lang="ru-RU" sz="1400" i="1" dirty="0" smtClean="0"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RU" sz="1200" i="1" dirty="0" smtClean="0">
                          <a:latin typeface="Arial Narrow" panose="020B0606020202030204" pitchFamily="34" charset="0"/>
                        </a:rPr>
                        <a:t>МОЭСК,</a:t>
                      </a:r>
                      <a:r>
                        <a:rPr lang="ru-RU" sz="1200" i="1" baseline="0" dirty="0" smtClean="0">
                          <a:latin typeface="Arial Narrow" panose="020B0606020202030204" pitchFamily="34" charset="0"/>
                        </a:rPr>
                        <a:t> МРСК</a:t>
                      </a:r>
                      <a:r>
                        <a:rPr lang="ru-RU" sz="1400" i="1" baseline="0" dirty="0" smtClean="0">
                          <a:latin typeface="Arial Narrow" panose="020B0606020202030204" pitchFamily="34" charset="0"/>
                        </a:rPr>
                        <a:t>)</a:t>
                      </a:r>
                      <a:endParaRPr lang="ru-RU" sz="1400" i="1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Да 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( </a:t>
                      </a:r>
                      <a:r>
                        <a:rPr lang="ru-RU" sz="1400" b="1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</a:rPr>
                        <a:t>? </a:t>
                      </a: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)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251520" y="5589240"/>
            <a:ext cx="8640960" cy="919401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Европейский опыт развития сети зарядной инфраструктуры показывает, что в рамках крупных компаний (например: </a:t>
            </a:r>
            <a:r>
              <a:rPr lang="en-US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RWE, </a:t>
            </a:r>
            <a:r>
              <a:rPr lang="en-US" sz="1600" dirty="0" err="1" smtClean="0">
                <a:solidFill>
                  <a:prstClr val="black"/>
                </a:solidFill>
                <a:latin typeface="Arial Narrow" panose="020B0606020202030204" pitchFamily="34" charset="0"/>
              </a:rPr>
              <a:t>Enel</a:t>
            </a:r>
            <a:r>
              <a:rPr lang="en-US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, E.ON</a:t>
            </a:r>
            <a:r>
              <a:rPr 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) существует </a:t>
            </a:r>
            <a:r>
              <a:rPr 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разделение </a:t>
            </a:r>
            <a:r>
              <a:rPr 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функци</a:t>
            </a:r>
            <a:r>
              <a:rPr 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й</a:t>
            </a:r>
            <a:r>
              <a:rPr lang="en-US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между технологическим и коммерческим оператором – этим занимаются разные юридические лица</a:t>
            </a:r>
            <a:endParaRPr lang="ru-RU" sz="1600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581" y="3091507"/>
            <a:ext cx="885099" cy="720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 descr="GDFSuez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025" y="4077072"/>
            <a:ext cx="1350639" cy="540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2863" y="3139031"/>
            <a:ext cx="1499617" cy="672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Picture 8" descr="Россети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174" y="4792589"/>
            <a:ext cx="1272530" cy="373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0574" y="4177410"/>
            <a:ext cx="774935" cy="774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5" name="Picture 11" descr="Endesa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929083"/>
            <a:ext cx="1104900" cy="1038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7" name="Picture 13" descr="Home Page EnelCom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0546" y="1764061"/>
            <a:ext cx="1149926" cy="1094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1" name="Picture 17" descr="VoRWEg gehen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288" y="1268760"/>
            <a:ext cx="1638300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3" name="Picture 19" descr="Логотип ED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780" y="1268760"/>
            <a:ext cx="1104900" cy="495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553200" y="6508640"/>
            <a:ext cx="2133600" cy="349359"/>
          </a:xfrm>
        </p:spPr>
        <p:txBody>
          <a:bodyPr/>
          <a:lstStyle/>
          <a:p>
            <a:pPr>
              <a:defRPr/>
            </a:pPr>
            <a:fld id="{40B30049-E612-47F7-AEC4-8B3D3F615C09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6385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8"/>
          <p:cNvSpPr txBox="1"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4566" y="228119"/>
            <a:ext cx="5064966" cy="457946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3000"/>
              </a:lnSpc>
              <a:spcAft>
                <a:spcPct val="30000"/>
              </a:spcAft>
              <a:buClr>
                <a:srgbClr val="EBC65B"/>
              </a:buClr>
            </a:pPr>
            <a:r>
              <a:rPr lang="ru-RU" sz="1600" b="1" dirty="0" smtClean="0">
                <a:solidFill>
                  <a:srgbClr val="004990"/>
                </a:solidFill>
                <a:latin typeface="+mn-lt"/>
                <a:cs typeface="Arial" panose="020B0604020202020204" pitchFamily="34" charset="0"/>
              </a:rPr>
              <a:t>Предпосылки создания коммерческого  оператора</a:t>
            </a:r>
            <a:br>
              <a:rPr lang="ru-RU" sz="1600" b="1" dirty="0" smtClean="0">
                <a:solidFill>
                  <a:srgbClr val="004990"/>
                </a:solidFill>
                <a:latin typeface="+mn-lt"/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rgbClr val="004990"/>
                </a:solidFill>
                <a:latin typeface="+mn-lt"/>
                <a:cs typeface="Arial" panose="020B0604020202020204" pitchFamily="34" charset="0"/>
              </a:rPr>
              <a:t>ОАО «</a:t>
            </a:r>
            <a:r>
              <a:rPr lang="ru-RU" sz="1600" b="1" dirty="0" err="1" smtClean="0">
                <a:solidFill>
                  <a:srgbClr val="004990"/>
                </a:solidFill>
                <a:latin typeface="+mn-lt"/>
                <a:cs typeface="Arial" panose="020B0604020202020204" pitchFamily="34" charset="0"/>
              </a:rPr>
              <a:t>Россети</a:t>
            </a:r>
            <a:r>
              <a:rPr lang="ru-RU" sz="1600" b="1" dirty="0" smtClean="0">
                <a:solidFill>
                  <a:srgbClr val="004990"/>
                </a:solidFill>
                <a:latin typeface="+mn-lt"/>
                <a:cs typeface="Arial" panose="020B0604020202020204" pitchFamily="34" charset="0"/>
              </a:rPr>
              <a:t>»</a:t>
            </a:r>
            <a:endParaRPr lang="ru-RU" sz="1600" b="1" dirty="0">
              <a:solidFill>
                <a:srgbClr val="004990"/>
              </a:solidFill>
              <a:latin typeface="+mn-lt"/>
              <a:cs typeface="Arial" panose="020B0604020202020204" pitchFamily="34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1418967"/>
              </p:ext>
            </p:extLst>
          </p:nvPr>
        </p:nvGraphicFramePr>
        <p:xfrm>
          <a:off x="251984" y="3202712"/>
          <a:ext cx="8677922" cy="12809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50578"/>
                <a:gridCol w="1234516"/>
                <a:gridCol w="1198207"/>
                <a:gridCol w="1198207"/>
                <a:gridCol w="1198207"/>
                <a:gridCol w="1198207"/>
              </a:tblGrid>
              <a:tr h="528828"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ru-RU" sz="1050" b="1" spc="150" baseline="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Категория</a:t>
                      </a:r>
                      <a:endParaRPr lang="ru-RU" sz="1050" b="1" spc="150" baseline="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  <a:alpha val="5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на </a:t>
                      </a:r>
                    </a:p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01.01.2016</a:t>
                      </a:r>
                      <a:endParaRPr lang="ru-RU" sz="105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  <a:alpha val="5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на </a:t>
                      </a:r>
                    </a:p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01.01.2017</a:t>
                      </a:r>
                      <a:endParaRPr lang="ru-RU" sz="105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  <a:alpha val="5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на </a:t>
                      </a:r>
                    </a:p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01.01.2018</a:t>
                      </a:r>
                      <a:endParaRPr lang="ru-RU" sz="105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  <a:alpha val="5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на </a:t>
                      </a:r>
                    </a:p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01.01.2019</a:t>
                      </a:r>
                      <a:endParaRPr lang="ru-RU" sz="105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  <a:alpha val="59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на </a:t>
                      </a:r>
                    </a:p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01.01.2020</a:t>
                      </a:r>
                      <a:endParaRPr lang="ru-RU" sz="105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  <a:alpha val="59000"/>
                      </a:schemeClr>
                    </a:solidFill>
                  </a:tcPr>
                </a:tc>
              </a:tr>
              <a:tr h="208371">
                <a:tc gridSpan="6"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</a:pPr>
                      <a:r>
                        <a:rPr lang="ru-RU" sz="1100" b="1" dirty="0" smtClean="0">
                          <a:latin typeface="+mn-lt"/>
                          <a:cs typeface="Times New Roman" panose="02020603050405020304" pitchFamily="18" charset="0"/>
                        </a:rPr>
                        <a:t>Зарядная инфраструктура для легкового и легкого коммерческого транспорта</a:t>
                      </a:r>
                      <a:endParaRPr lang="ru-RU" sz="1100" b="1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1F5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</a:pP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</a:pP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</a:pP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</a:pP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</a:pPr>
                      <a:endParaRPr lang="ru-RU" sz="1600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5646">
                <a:tc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</a:pPr>
                      <a:r>
                        <a:rPr lang="ru-RU" sz="1100" dirty="0" smtClean="0">
                          <a:latin typeface="+mn-lt"/>
                          <a:cs typeface="Times New Roman" panose="02020603050405020304" pitchFamily="18" charset="0"/>
                        </a:rPr>
                        <a:t>Зарядные станции </a:t>
                      </a:r>
                      <a:r>
                        <a:rPr lang="en-US" sz="1100" dirty="0" smtClean="0">
                          <a:latin typeface="+mn-lt"/>
                          <a:cs typeface="Times New Roman" panose="02020603050405020304" pitchFamily="18" charset="0"/>
                        </a:rPr>
                        <a:t>Mode </a:t>
                      </a:r>
                      <a:r>
                        <a:rPr lang="ru-RU" sz="1100" dirty="0" smtClean="0">
                          <a:latin typeface="+mn-lt"/>
                          <a:cs typeface="Times New Roman" panose="02020603050405020304" pitchFamily="18" charset="0"/>
                        </a:rPr>
                        <a:t>3</a:t>
                      </a:r>
                      <a:endParaRPr lang="ru-RU" sz="11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ru-RU" sz="1100" dirty="0" smtClean="0">
                          <a:latin typeface="+mn-lt"/>
                          <a:cs typeface="Times New Roman" panose="02020603050405020304" pitchFamily="18" charset="0"/>
                        </a:rPr>
                        <a:t>3 109</a:t>
                      </a:r>
                      <a:endParaRPr lang="ru-RU" sz="11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ru-RU" sz="1100" dirty="0" smtClean="0">
                          <a:latin typeface="+mn-lt"/>
                          <a:cs typeface="Times New Roman" panose="02020603050405020304" pitchFamily="18" charset="0"/>
                        </a:rPr>
                        <a:t>6 171</a:t>
                      </a:r>
                      <a:endParaRPr lang="ru-RU" sz="11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ru-RU" sz="1100" dirty="0" smtClean="0">
                          <a:latin typeface="+mn-lt"/>
                          <a:cs typeface="Times New Roman" panose="02020603050405020304" pitchFamily="18" charset="0"/>
                        </a:rPr>
                        <a:t>12 163</a:t>
                      </a:r>
                      <a:endParaRPr lang="ru-RU" sz="11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ru-RU" sz="1100" dirty="0" smtClean="0">
                          <a:latin typeface="+mn-lt"/>
                          <a:cs typeface="Times New Roman" panose="02020603050405020304" pitchFamily="18" charset="0"/>
                        </a:rPr>
                        <a:t>22 2</a:t>
                      </a:r>
                      <a:r>
                        <a:rPr lang="ru-RU" sz="1100" baseline="0" dirty="0" smtClean="0">
                          <a:latin typeface="+mn-lt"/>
                          <a:cs typeface="Times New Roman" panose="02020603050405020304" pitchFamily="18" charset="0"/>
                        </a:rPr>
                        <a:t>81</a:t>
                      </a:r>
                      <a:endParaRPr lang="ru-RU" sz="11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ru-RU" sz="1100" dirty="0" smtClean="0">
                          <a:latin typeface="+mn-lt"/>
                          <a:cs typeface="Times New Roman" panose="02020603050405020304" pitchFamily="18" charset="0"/>
                        </a:rPr>
                        <a:t>38 674</a:t>
                      </a:r>
                      <a:endParaRPr lang="ru-RU" sz="11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</a:pPr>
                      <a:r>
                        <a:rPr lang="ru-RU" sz="1100" dirty="0" smtClean="0">
                          <a:latin typeface="+mn-lt"/>
                          <a:cs typeface="Times New Roman" panose="02020603050405020304" pitchFamily="18" charset="0"/>
                        </a:rPr>
                        <a:t>Зарядные станции </a:t>
                      </a:r>
                      <a:r>
                        <a:rPr lang="en-US" sz="1100" dirty="0" smtClean="0">
                          <a:latin typeface="+mn-lt"/>
                          <a:cs typeface="Times New Roman" panose="02020603050405020304" pitchFamily="18" charset="0"/>
                        </a:rPr>
                        <a:t>Mode </a:t>
                      </a:r>
                      <a:r>
                        <a:rPr lang="ru-RU" sz="1100" dirty="0" smtClean="0">
                          <a:latin typeface="+mn-lt"/>
                          <a:cs typeface="Times New Roman" panose="02020603050405020304" pitchFamily="18" charset="0"/>
                        </a:rPr>
                        <a:t>4</a:t>
                      </a:r>
                      <a:endParaRPr lang="ru-RU" sz="11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ru-RU" sz="1100" dirty="0" smtClean="0">
                          <a:latin typeface="+mn-lt"/>
                          <a:cs typeface="Times New Roman" panose="02020603050405020304" pitchFamily="18" charset="0"/>
                        </a:rPr>
                        <a:t>139</a:t>
                      </a:r>
                      <a:endParaRPr lang="ru-RU" sz="11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ru-RU" sz="1100" dirty="0" smtClean="0">
                          <a:latin typeface="+mn-lt"/>
                          <a:cs typeface="Times New Roman" panose="02020603050405020304" pitchFamily="18" charset="0"/>
                        </a:rPr>
                        <a:t>222</a:t>
                      </a:r>
                      <a:endParaRPr lang="ru-RU" sz="11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ru-RU" sz="1100" dirty="0" smtClean="0">
                          <a:latin typeface="+mn-lt"/>
                          <a:cs typeface="Times New Roman" panose="02020603050405020304" pitchFamily="18" charset="0"/>
                        </a:rPr>
                        <a:t>351</a:t>
                      </a:r>
                      <a:endParaRPr lang="ru-RU" sz="11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ru-RU" sz="1100" dirty="0" smtClean="0">
                          <a:latin typeface="+mn-lt"/>
                          <a:cs typeface="Times New Roman" panose="02020603050405020304" pitchFamily="18" charset="0"/>
                        </a:rPr>
                        <a:t>511</a:t>
                      </a:r>
                      <a:endParaRPr lang="ru-RU" sz="11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ru-RU" sz="1100" dirty="0" smtClean="0">
                          <a:latin typeface="+mn-lt"/>
                          <a:cs typeface="Times New Roman" panose="02020603050405020304" pitchFamily="18" charset="0"/>
                        </a:rPr>
                        <a:t>702</a:t>
                      </a:r>
                      <a:endParaRPr lang="ru-RU" sz="11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203335" y="2894935"/>
            <a:ext cx="8622481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ru-RU" sz="1400" b="1" dirty="0" smtClean="0"/>
              <a:t>Прогноз потребности рынка России в зарядной инфраструктуре к 2020 году </a:t>
            </a:r>
            <a:endParaRPr lang="ru-RU" sz="1400" b="1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4566" y="989814"/>
            <a:ext cx="8972759" cy="1820061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 anchorCtr="0">
            <a:noAutofit/>
          </a:bodyPr>
          <a:lstStyle/>
          <a:p>
            <a:pPr indent="179388" algn="just" eaLnBrk="0" hangingPunct="0">
              <a:spcAft>
                <a:spcPts val="0"/>
              </a:spcAft>
              <a:buClr>
                <a:schemeClr val="tx2"/>
              </a:buClr>
            </a:pPr>
            <a:r>
              <a:rPr lang="ru-RU" sz="1200" dirty="0" smtClean="0">
                <a:solidFill>
                  <a:schemeClr val="tx1"/>
                </a:solidFill>
              </a:rPr>
              <a:t>В рамках Программы в настоящее время реализованы следующие пилотные проекты</a:t>
            </a:r>
            <a:r>
              <a:rPr lang="en-US" sz="1200" dirty="0" smtClean="0">
                <a:solidFill>
                  <a:schemeClr val="tx1"/>
                </a:solidFill>
              </a:rPr>
              <a:t>:</a:t>
            </a:r>
          </a:p>
          <a:p>
            <a:pPr indent="179388" algn="just" eaLnBrk="0" hangingPunct="0">
              <a:spcAft>
                <a:spcPts val="0"/>
              </a:spcAft>
              <a:buClr>
                <a:schemeClr val="tx2"/>
              </a:buClr>
              <a:buFontTx/>
              <a:buChar char="-"/>
            </a:pPr>
            <a:r>
              <a:rPr lang="ru-RU" sz="1400" b="1" dirty="0" smtClean="0">
                <a:solidFill>
                  <a:schemeClr val="tx1"/>
                </a:solidFill>
              </a:rPr>
              <a:t>8 ЭЗС </a:t>
            </a:r>
            <a:r>
              <a:rPr lang="ru-RU" sz="1200" dirty="0" smtClean="0">
                <a:solidFill>
                  <a:schemeClr val="tx1"/>
                </a:solidFill>
              </a:rPr>
              <a:t>переменного тока и </a:t>
            </a:r>
            <a:r>
              <a:rPr lang="ru-RU" sz="1400" b="1" dirty="0" smtClean="0">
                <a:solidFill>
                  <a:schemeClr val="tx1"/>
                </a:solidFill>
              </a:rPr>
              <a:t>1 ЭЗС </a:t>
            </a:r>
            <a:r>
              <a:rPr lang="ru-RU" sz="1200" dirty="0" smtClean="0">
                <a:solidFill>
                  <a:schemeClr val="tx1"/>
                </a:solidFill>
              </a:rPr>
              <a:t>экспресс-зарядки на о. Валаам (филиал ОАО «ФСК ЕЭС» - МЭС Северо-Запада);</a:t>
            </a:r>
          </a:p>
          <a:p>
            <a:pPr indent="179388" algn="just" eaLnBrk="0" hangingPunct="0">
              <a:spcAft>
                <a:spcPts val="0"/>
              </a:spcAft>
              <a:buClr>
                <a:schemeClr val="tx2"/>
              </a:buClr>
              <a:buFontTx/>
              <a:buChar char="-"/>
            </a:pPr>
            <a:r>
              <a:rPr lang="ru-RU" sz="1400" b="1" dirty="0" smtClean="0">
                <a:solidFill>
                  <a:schemeClr val="tx1"/>
                </a:solidFill>
              </a:rPr>
              <a:t>4 ЭЗС </a:t>
            </a:r>
            <a:r>
              <a:rPr lang="ru-RU" sz="1200" dirty="0" smtClean="0">
                <a:solidFill>
                  <a:schemeClr val="tx1"/>
                </a:solidFill>
              </a:rPr>
              <a:t>переменного тока (для электробуса малого класса) (филиал ОАО «ФСК ЕЭС» - МЭС Центра);</a:t>
            </a:r>
            <a:endParaRPr lang="en-US" sz="1200" dirty="0" smtClean="0">
              <a:solidFill>
                <a:schemeClr val="tx1"/>
              </a:solidFill>
            </a:endParaRPr>
          </a:p>
          <a:p>
            <a:pPr indent="179388" algn="just" eaLnBrk="0" hangingPunct="0">
              <a:spcAft>
                <a:spcPts val="0"/>
              </a:spcAft>
              <a:buClr>
                <a:schemeClr val="tx2"/>
              </a:buClr>
              <a:buFontTx/>
              <a:buChar char="-"/>
            </a:pPr>
            <a:r>
              <a:rPr lang="ru-RU" sz="1400" b="1" dirty="0" smtClean="0">
                <a:solidFill>
                  <a:schemeClr val="tx1"/>
                </a:solidFill>
              </a:rPr>
              <a:t>28 ЭЗС </a:t>
            </a:r>
            <a:r>
              <a:rPr lang="ru-RU" sz="1200" dirty="0" smtClean="0">
                <a:solidFill>
                  <a:schemeClr val="tx1"/>
                </a:solidFill>
              </a:rPr>
              <a:t>в Москве и Московской области (проект МОЭСК-EV). В 2015 г. будет установлено еще </a:t>
            </a:r>
            <a:r>
              <a:rPr lang="ru-RU" sz="1400" b="1" dirty="0" smtClean="0">
                <a:solidFill>
                  <a:schemeClr val="tx1"/>
                </a:solidFill>
              </a:rPr>
              <a:t>80 ЭЗС</a:t>
            </a:r>
            <a:r>
              <a:rPr lang="ru-RU" sz="1200" dirty="0" smtClean="0">
                <a:solidFill>
                  <a:schemeClr val="tx1"/>
                </a:solidFill>
              </a:rPr>
              <a:t>.</a:t>
            </a:r>
          </a:p>
          <a:p>
            <a:pPr indent="179388" algn="just" eaLnBrk="0" hangingPunct="0">
              <a:spcAft>
                <a:spcPts val="0"/>
              </a:spcAft>
              <a:buClr>
                <a:schemeClr val="tx2"/>
              </a:buClr>
            </a:pPr>
            <a:r>
              <a:rPr lang="ru-RU" sz="1200" dirty="0" smtClean="0">
                <a:solidFill>
                  <a:schemeClr val="tx1"/>
                </a:solidFill>
              </a:rPr>
              <a:t>Согласно решения Правления ОАО «Россети» (протокол от 29.12.2014 № 296пр) в 2015 г. </a:t>
            </a:r>
            <a:r>
              <a:rPr lang="ru-RU" sz="1200" dirty="0">
                <a:solidFill>
                  <a:schemeClr val="tx1"/>
                </a:solidFill>
              </a:rPr>
              <a:t>предусмотрено </a:t>
            </a:r>
            <a:r>
              <a:rPr lang="ru-RU" sz="1200" dirty="0" smtClean="0">
                <a:solidFill>
                  <a:schemeClr val="tx1"/>
                </a:solidFill>
              </a:rPr>
              <a:t>размещение </a:t>
            </a:r>
            <a:br>
              <a:rPr lang="ru-RU" sz="1200" dirty="0" smtClean="0">
                <a:solidFill>
                  <a:schemeClr val="tx1"/>
                </a:solidFill>
              </a:rPr>
            </a:br>
            <a:r>
              <a:rPr lang="ru-RU" sz="1200" dirty="0" smtClean="0">
                <a:solidFill>
                  <a:schemeClr val="tx1"/>
                </a:solidFill>
              </a:rPr>
              <a:t>ДЗО ОАО «Россети» </a:t>
            </a:r>
            <a:r>
              <a:rPr lang="ru-RU" sz="1400" b="1" dirty="0" smtClean="0">
                <a:solidFill>
                  <a:schemeClr val="tx1"/>
                </a:solidFill>
              </a:rPr>
              <a:t>223 </a:t>
            </a:r>
            <a:r>
              <a:rPr lang="ru-RU" sz="1400" b="1" dirty="0">
                <a:solidFill>
                  <a:schemeClr val="tx1"/>
                </a:solidFill>
              </a:rPr>
              <a:t>ЭЗС </a:t>
            </a:r>
            <a:r>
              <a:rPr lang="ru-RU" sz="1200" dirty="0">
                <a:solidFill>
                  <a:schemeClr val="tx1"/>
                </a:solidFill>
              </a:rPr>
              <a:t>в ключевых регионах России: Санкт-Петербург, Ярославль, Калуга, Краснодар, Екатеринбург и др</a:t>
            </a:r>
            <a:r>
              <a:rPr lang="ru-RU" sz="1200" dirty="0" smtClean="0">
                <a:solidFill>
                  <a:schemeClr val="tx1"/>
                </a:solidFill>
              </a:rPr>
              <a:t>.</a:t>
            </a:r>
          </a:p>
          <a:p>
            <a:pPr indent="179388" algn="just" eaLnBrk="0" hangingPunct="0">
              <a:spcAft>
                <a:spcPts val="0"/>
              </a:spcAft>
              <a:buClr>
                <a:schemeClr val="tx2"/>
              </a:buClr>
            </a:pPr>
            <a:r>
              <a:rPr lang="ru-RU" sz="1200" b="1" dirty="0" smtClean="0">
                <a:solidFill>
                  <a:schemeClr val="tx1"/>
                </a:solidFill>
              </a:rPr>
              <a:t>Таким образом на конец 2015 года под управлением группы ОАО «</a:t>
            </a:r>
            <a:r>
              <a:rPr lang="ru-RU" sz="1200" b="1" dirty="0" err="1" smtClean="0">
                <a:solidFill>
                  <a:schemeClr val="tx1"/>
                </a:solidFill>
              </a:rPr>
              <a:t>Россети</a:t>
            </a:r>
            <a:r>
              <a:rPr lang="ru-RU" sz="1200" b="1" dirty="0" smtClean="0">
                <a:solidFill>
                  <a:schemeClr val="tx1"/>
                </a:solidFill>
              </a:rPr>
              <a:t>» будет находиться </a:t>
            </a:r>
            <a:r>
              <a:rPr lang="ru-RU" sz="1400" b="1" dirty="0" smtClean="0">
                <a:solidFill>
                  <a:schemeClr val="tx1"/>
                </a:solidFill>
              </a:rPr>
              <a:t>344 ЭЗС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54135" y="6341448"/>
            <a:ext cx="792088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 smtClean="0">
                <a:latin typeface="+mn-lt"/>
                <a:cs typeface="Times New Roman" panose="02020603050405020304" pitchFamily="18" charset="0"/>
              </a:rPr>
              <a:t>по данным Всероссийской программы </a:t>
            </a:r>
            <a:r>
              <a:rPr lang="ru-RU" sz="1100" dirty="0">
                <a:latin typeface="+mn-lt"/>
                <a:cs typeface="Times New Roman" panose="02020603050405020304" pitchFamily="18" charset="0"/>
              </a:rPr>
              <a:t>развития зарядной инфраструктуры для электротранспорта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04566" y="6281123"/>
            <a:ext cx="5741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1600" dirty="0" smtClean="0">
                <a:solidFill>
                  <a:srgbClr val="FF0000"/>
                </a:solidFill>
                <a:latin typeface="+mn-lt"/>
              </a:rPr>
              <a:t>-</a:t>
            </a:r>
            <a:endParaRPr lang="ru-RU" sz="1600" dirty="0">
              <a:solidFill>
                <a:srgbClr val="FF0000"/>
              </a:solidFill>
              <a:latin typeface="+mn-lt"/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5801" y="2877373"/>
            <a:ext cx="171450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296274" y="6356350"/>
            <a:ext cx="390525" cy="365125"/>
          </a:xfrm>
        </p:spPr>
        <p:txBody>
          <a:bodyPr/>
          <a:lstStyle/>
          <a:p>
            <a:pPr>
              <a:defRPr/>
            </a:pPr>
            <a:fld id="{40B30049-E612-47F7-AEC4-8B3D3F615C09}" type="slidenum">
              <a:rPr lang="ru-RU" smtClean="0">
                <a:latin typeface="+mn-lt"/>
              </a:rPr>
              <a:pPr>
                <a:defRPr/>
              </a:pPr>
              <a:t>5</a:t>
            </a:fld>
            <a:endParaRPr lang="ru-RU" dirty="0">
              <a:latin typeface="+mn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51984" y="4566043"/>
            <a:ext cx="8677922" cy="1568057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 anchor="ctr" anchorCtr="0">
            <a:noAutofit/>
          </a:bodyPr>
          <a:lstStyle>
            <a:defPPr>
              <a:defRPr lang="ru-RU"/>
            </a:defPPr>
            <a:lvl1pPr indent="179388" algn="just" eaLnBrk="0" hangingPunct="0">
              <a:spcAft>
                <a:spcPts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</a:defRPr>
            </a:lvl1pPr>
          </a:lstStyle>
          <a:p>
            <a:pPr>
              <a:lnSpc>
                <a:spcPct val="114000"/>
              </a:lnSpc>
              <a:buClr>
                <a:srgbClr val="1F497D"/>
              </a:buClr>
            </a:pPr>
            <a:r>
              <a:rPr lang="ru-RU" sz="1200" b="1" dirty="0">
                <a:solidFill>
                  <a:prstClr val="black"/>
                </a:solidFill>
              </a:rPr>
              <a:t>Для успешного содержания и развития сети зарядной инфраструктуры, оказания потребителям услуг по зарядке тяговых батарей электротранспорта  необходимо создание самостоятельной структуры (коммерческого оператора), которая станет центром компетенции по реализации следующих задач:</a:t>
            </a:r>
          </a:p>
          <a:p>
            <a:pPr>
              <a:lnSpc>
                <a:spcPct val="114000"/>
              </a:lnSpc>
              <a:buClr>
                <a:srgbClr val="1F497D"/>
              </a:buClr>
            </a:pPr>
            <a:r>
              <a:rPr lang="ru-RU" sz="1200" dirty="0">
                <a:solidFill>
                  <a:prstClr val="black"/>
                </a:solidFill>
              </a:rPr>
              <a:t>- Формирование системных требований (условий) к строительству и размещению ЭЗС;</a:t>
            </a:r>
          </a:p>
          <a:p>
            <a:pPr>
              <a:lnSpc>
                <a:spcPct val="114000"/>
              </a:lnSpc>
              <a:buClr>
                <a:srgbClr val="1F497D"/>
              </a:buClr>
            </a:pPr>
            <a:r>
              <a:rPr lang="ru-RU" sz="1200" dirty="0">
                <a:solidFill>
                  <a:prstClr val="black"/>
                </a:solidFill>
              </a:rPr>
              <a:t>- Эксплуатация, техническое обслуживание и системное развитие единой сети ЭЗС;</a:t>
            </a:r>
          </a:p>
          <a:p>
            <a:pPr>
              <a:lnSpc>
                <a:spcPct val="114000"/>
              </a:lnSpc>
              <a:buClr>
                <a:srgbClr val="1F497D"/>
              </a:buClr>
            </a:pPr>
            <a:r>
              <a:rPr lang="ru-RU" sz="1200" dirty="0">
                <a:solidFill>
                  <a:prstClr val="black"/>
                </a:solidFill>
              </a:rPr>
              <a:t>- Предоставление услуг зарядной инфраструктуры потребителям в едином стандарте;</a:t>
            </a:r>
          </a:p>
          <a:p>
            <a:pPr>
              <a:lnSpc>
                <a:spcPct val="114000"/>
              </a:lnSpc>
              <a:buClr>
                <a:srgbClr val="1F497D"/>
              </a:buClr>
            </a:pPr>
            <a:r>
              <a:rPr lang="ru-RU" sz="1200" dirty="0">
                <a:solidFill>
                  <a:prstClr val="black"/>
                </a:solidFill>
              </a:rPr>
              <a:t>- Обеспечение централизации закупок ЭЗС и комплектующих для зарядной инфраструктуры группы ОАО «</a:t>
            </a:r>
            <a:r>
              <a:rPr lang="ru-RU" sz="1200" dirty="0" err="1">
                <a:solidFill>
                  <a:prstClr val="black"/>
                </a:solidFill>
              </a:rPr>
              <a:t>Россети</a:t>
            </a:r>
            <a:r>
              <a:rPr lang="ru-RU" sz="1200" dirty="0">
                <a:solidFill>
                  <a:prstClr val="black"/>
                </a:solidFill>
              </a:rPr>
              <a:t>».</a:t>
            </a:r>
          </a:p>
        </p:txBody>
      </p:sp>
    </p:spTree>
    <p:extLst>
      <p:ext uri="{BB962C8B-B14F-4D97-AF65-F5344CB8AC3E}">
        <p14:creationId xmlns:p14="http://schemas.microsoft.com/office/powerpoint/2010/main" val="3656151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8"/>
          <p:cNvSpPr txBox="1"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04566" y="228119"/>
            <a:ext cx="5064966" cy="457946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3000"/>
              </a:lnSpc>
              <a:spcAft>
                <a:spcPct val="30000"/>
              </a:spcAft>
              <a:buClr>
                <a:srgbClr val="EBC65B"/>
              </a:buClr>
            </a:pPr>
            <a:r>
              <a:rPr lang="ru-RU" sz="1600" b="1" dirty="0">
                <a:solidFill>
                  <a:schemeClr val="tx2"/>
                </a:solidFill>
              </a:rPr>
              <a:t>Предоставление услуг зарядной инфраструктуры потребителю</a:t>
            </a:r>
            <a:endParaRPr lang="ru-RU" sz="1600" b="1" dirty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27522" y="3578208"/>
            <a:ext cx="6759018" cy="300243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 anchorCtr="0">
            <a:noAutofit/>
          </a:bodyPr>
          <a:lstStyle/>
          <a:p>
            <a:r>
              <a:rPr lang="ru-RU" sz="1200" b="1" dirty="0" smtClean="0"/>
              <a:t>Принципиальным </a:t>
            </a:r>
            <a:r>
              <a:rPr lang="ru-RU" sz="1200" b="1" dirty="0"/>
              <a:t>моментом данной модели является то, что клиент платит за услугу, а не за э/э. </a:t>
            </a:r>
            <a:endParaRPr lang="ru-RU" sz="1200" b="1" dirty="0" smtClean="0"/>
          </a:p>
          <a:p>
            <a:endParaRPr lang="ru-RU" sz="1200" b="1" dirty="0"/>
          </a:p>
          <a:p>
            <a:r>
              <a:rPr lang="ru-RU" sz="1200" dirty="0" smtClean="0"/>
              <a:t>При </a:t>
            </a:r>
            <a:r>
              <a:rPr lang="ru-RU" sz="1200" dirty="0"/>
              <a:t>этом тарификация может быть очень гибкой и включать в себя комбинацию следующих параметров:</a:t>
            </a:r>
          </a:p>
          <a:p>
            <a:r>
              <a:rPr lang="ru-RU" sz="1200" dirty="0"/>
              <a:t> </a:t>
            </a:r>
            <a:r>
              <a:rPr lang="ru-RU" sz="1200" dirty="0" smtClean="0"/>
              <a:t>Мощность </a:t>
            </a:r>
            <a:r>
              <a:rPr lang="ru-RU" sz="1200" dirty="0"/>
              <a:t>бортового зарядного устройства э/м</a:t>
            </a:r>
          </a:p>
          <a:p>
            <a:pPr lvl="0"/>
            <a:r>
              <a:rPr lang="ru-RU" sz="1200" dirty="0"/>
              <a:t>Продолжительность зарядной сессии</a:t>
            </a:r>
          </a:p>
          <a:p>
            <a:pPr lvl="0"/>
            <a:r>
              <a:rPr lang="ru-RU" sz="1200" dirty="0"/>
              <a:t>Календарный день (рабочий, выходной)</a:t>
            </a:r>
          </a:p>
          <a:p>
            <a:pPr lvl="0"/>
            <a:r>
              <a:rPr lang="ru-RU" sz="1200" dirty="0"/>
              <a:t>Время в течении дня (тариф в зависимости от времени суток)</a:t>
            </a:r>
          </a:p>
          <a:p>
            <a:r>
              <a:rPr lang="ru-RU" sz="1200" dirty="0"/>
              <a:t> </a:t>
            </a:r>
          </a:p>
          <a:p>
            <a:pPr algn="just"/>
            <a:r>
              <a:rPr lang="ru-RU" sz="1400" b="1" dirty="0" smtClean="0"/>
              <a:t>Данная </a:t>
            </a:r>
            <a:r>
              <a:rPr lang="ru-RU" sz="1400" b="1" dirty="0"/>
              <a:t>бизнес-модель позволяет запустить проект в кратчайшие сроки в рамках существующего законодательства. </a:t>
            </a:r>
            <a:r>
              <a:rPr lang="ru-RU" sz="1400" b="1" dirty="0" smtClean="0"/>
              <a:t>Деятельность </a:t>
            </a:r>
            <a:r>
              <a:rPr lang="ru-RU" sz="1400" b="1" dirty="0"/>
              <a:t>связанная с оказанием услуг по зарядке и работой по размещению зарядной инфраструктуры носит рыночный характер и не свойственная сетевым компаниям в силу специфики (монополии) их традиционного бизнеса, требует новых компетенций и ресурсов.</a:t>
            </a:r>
            <a:endParaRPr lang="ru-RU" sz="1400" b="1" dirty="0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296274" y="6356350"/>
            <a:ext cx="390525" cy="365125"/>
          </a:xfrm>
        </p:spPr>
        <p:txBody>
          <a:bodyPr/>
          <a:lstStyle/>
          <a:p>
            <a:pPr>
              <a:defRPr/>
            </a:pPr>
            <a:fld id="{40B30049-E612-47F7-AEC4-8B3D3F615C09}" type="slidenum">
              <a:rPr lang="ru-RU" smtClean="0">
                <a:latin typeface="Calibri"/>
              </a:rPr>
              <a:pPr>
                <a:defRPr/>
              </a:pPr>
              <a:t>6</a:t>
            </a:fld>
            <a:endParaRPr lang="ru-RU" dirty="0">
              <a:latin typeface="Calibri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04566" y="1005475"/>
            <a:ext cx="8870453" cy="2462213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</a:schemeClr>
              </a:gs>
              <a:gs pos="29000">
                <a:schemeClr val="tx2">
                  <a:lumMod val="40000"/>
                  <a:lumOff val="60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tx1"/>
                </a:solidFill>
              </a:rPr>
              <a:t>Услуга по зарядке тяговых батарей электромобиля это нерегулируемый вид деятельности.</a:t>
            </a:r>
          </a:p>
          <a:p>
            <a:endParaRPr lang="ru-RU" sz="1400" dirty="0" smtClean="0">
              <a:solidFill>
                <a:schemeClr val="tx1"/>
              </a:solidFill>
            </a:endParaRPr>
          </a:p>
          <a:p>
            <a:r>
              <a:rPr lang="ru-RU" sz="1400" dirty="0" smtClean="0">
                <a:solidFill>
                  <a:schemeClr val="tx1"/>
                </a:solidFill>
              </a:rPr>
              <a:t>Данная </a:t>
            </a:r>
            <a:r>
              <a:rPr lang="ru-RU" sz="1400" dirty="0">
                <a:solidFill>
                  <a:schemeClr val="tx1"/>
                </a:solidFill>
              </a:rPr>
              <a:t>услуга включает в себя:</a:t>
            </a:r>
          </a:p>
          <a:p>
            <a:r>
              <a:rPr lang="ru-RU" sz="1400" dirty="0">
                <a:solidFill>
                  <a:schemeClr val="tx1"/>
                </a:solidFill>
              </a:rPr>
              <a:t> </a:t>
            </a:r>
          </a:p>
          <a:p>
            <a:pPr lvl="0"/>
            <a:r>
              <a:rPr lang="ru-RU" sz="1400" dirty="0" smtClean="0">
                <a:solidFill>
                  <a:schemeClr val="tx1"/>
                </a:solidFill>
              </a:rPr>
              <a:t>- Обеспечение </a:t>
            </a:r>
            <a:r>
              <a:rPr lang="ru-RU" sz="1400" dirty="0">
                <a:solidFill>
                  <a:schemeClr val="tx1"/>
                </a:solidFill>
              </a:rPr>
              <a:t>электромобиля парковочным местом на время зарядки</a:t>
            </a:r>
          </a:p>
          <a:p>
            <a:pPr lvl="0"/>
            <a:r>
              <a:rPr lang="ru-RU" sz="1400" dirty="0" smtClean="0">
                <a:solidFill>
                  <a:schemeClr val="tx1"/>
                </a:solidFill>
              </a:rPr>
              <a:t>- Обеспечение </a:t>
            </a:r>
            <a:r>
              <a:rPr lang="ru-RU" sz="1400" dirty="0">
                <a:solidFill>
                  <a:schemeClr val="tx1"/>
                </a:solidFill>
              </a:rPr>
              <a:t>доступа к исправной зарядной станции</a:t>
            </a:r>
          </a:p>
          <a:p>
            <a:pPr lvl="0"/>
            <a:r>
              <a:rPr lang="ru-RU" sz="1400" dirty="0" smtClean="0">
                <a:solidFill>
                  <a:schemeClr val="tx1"/>
                </a:solidFill>
              </a:rPr>
              <a:t>- Техническое </a:t>
            </a:r>
            <a:r>
              <a:rPr lang="ru-RU" sz="1400" dirty="0">
                <a:solidFill>
                  <a:schemeClr val="tx1"/>
                </a:solidFill>
              </a:rPr>
              <a:t>обслуживание зарядной станции</a:t>
            </a:r>
          </a:p>
          <a:p>
            <a:pPr lvl="0"/>
            <a:r>
              <a:rPr lang="ru-RU" sz="1400" dirty="0">
                <a:solidFill>
                  <a:schemeClr val="tx1"/>
                </a:solidFill>
              </a:rPr>
              <a:t>Предоставление доступа к Информационной системе</a:t>
            </a:r>
          </a:p>
          <a:p>
            <a:pPr lvl="0"/>
            <a:r>
              <a:rPr lang="ru-RU" sz="1400" dirty="0">
                <a:solidFill>
                  <a:schemeClr val="tx1"/>
                </a:solidFill>
              </a:rPr>
              <a:t>Техническая поддержка по телефону и электронной почте</a:t>
            </a:r>
          </a:p>
          <a:p>
            <a:pPr lvl="0"/>
            <a:r>
              <a:rPr lang="ru-RU" sz="1400" dirty="0">
                <a:solidFill>
                  <a:schemeClr val="tx1"/>
                </a:solidFill>
              </a:rPr>
              <a:t>Коммунальные услуги по поддержанию парковочного места в надлежащем состоянии, электроэнергия в объеме, необходимом для зарядки батареи до требуемого </a:t>
            </a:r>
            <a:r>
              <a:rPr lang="ru-RU" sz="1400" dirty="0" smtClean="0">
                <a:solidFill>
                  <a:schemeClr val="tx1"/>
                </a:solidFill>
              </a:rPr>
              <a:t>уровня</a:t>
            </a:r>
            <a:endParaRPr lang="ru-RU" sz="1400" dirty="0">
              <a:solidFill>
                <a:schemeClr val="tx1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6540" y="3717352"/>
            <a:ext cx="1238250" cy="272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439" y="3655979"/>
            <a:ext cx="904875" cy="2600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6470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515386" cy="365125"/>
          </a:xfrm>
        </p:spPr>
        <p:txBody>
          <a:bodyPr/>
          <a:lstStyle/>
          <a:p>
            <a:pPr>
              <a:defRPr/>
            </a:pPr>
            <a:fld id="{E4A4942A-E23F-465F-BC82-D72C369FFA16}" type="slidenum">
              <a:rPr lang="ru-RU" smtClean="0">
                <a:latin typeface="Calibri"/>
              </a:rPr>
              <a:pPr>
                <a:defRPr/>
              </a:pPr>
              <a:t>7</a:t>
            </a:fld>
            <a:endParaRPr lang="ru-RU" dirty="0">
              <a:latin typeface="Calibri"/>
            </a:endParaRPr>
          </a:p>
        </p:txBody>
      </p:sp>
      <p:sp>
        <p:nvSpPr>
          <p:cNvPr id="6" name="TextBox 5"/>
          <p:cNvSpPr txBox="1"/>
          <p:nvPr>
            <p:custDataLst>
              <p:tags r:id="rId1"/>
            </p:custDataLst>
          </p:nvPr>
        </p:nvSpPr>
        <p:spPr>
          <a:xfrm>
            <a:off x="214063" y="261347"/>
            <a:ext cx="5783286" cy="228973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3000"/>
              </a:lnSpc>
              <a:spcAft>
                <a:spcPct val="30000"/>
              </a:spcAft>
              <a:buClr>
                <a:srgbClr val="EBC65B"/>
              </a:buClr>
              <a:buFont typeface="Wingdings" pitchFamily="2" charset="2"/>
              <a:buNone/>
            </a:pPr>
            <a:r>
              <a:rPr lang="ru-RU" sz="1600" b="1" dirty="0" smtClean="0">
                <a:solidFill>
                  <a:srgbClr val="004990"/>
                </a:solidFill>
                <a:latin typeface="Calibri"/>
              </a:rPr>
              <a:t>Формирование и развитие зарядной инфраструктуры </a:t>
            </a:r>
            <a:endParaRPr lang="ru-RU" sz="1600" b="1" dirty="0">
              <a:solidFill>
                <a:srgbClr val="004990"/>
              </a:solidFill>
              <a:latin typeface="Calibri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04566" y="1005475"/>
            <a:ext cx="8870453" cy="830997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</a:schemeClr>
              </a:gs>
              <a:gs pos="29000">
                <a:schemeClr val="tx2">
                  <a:lumMod val="40000"/>
                  <a:lumOff val="60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tx2"/>
                </a:solidFill>
              </a:rPr>
              <a:t>Формирование и развитие зарядной инфраструктуры основывается на следующих принципах </a:t>
            </a:r>
            <a:endParaRPr lang="ru-RU" sz="2400" dirty="0">
              <a:solidFill>
                <a:schemeClr val="tx2"/>
              </a:solidFill>
            </a:endParaRPr>
          </a:p>
        </p:txBody>
      </p:sp>
      <p:graphicFrame>
        <p:nvGraphicFramePr>
          <p:cNvPr id="18" name="Схема 17"/>
          <p:cNvGraphicFramePr/>
          <p:nvPr>
            <p:extLst>
              <p:ext uri="{D42A27DB-BD31-4B8C-83A1-F6EECF244321}">
                <p14:modId xmlns:p14="http://schemas.microsoft.com/office/powerpoint/2010/main" val="4159539172"/>
              </p:ext>
            </p:extLst>
          </p:nvPr>
        </p:nvGraphicFramePr>
        <p:xfrm>
          <a:off x="104565" y="2213872"/>
          <a:ext cx="8870453" cy="37061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909246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4A4942A-E23F-465F-BC82-D72C369FFA16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  <p:sp>
        <p:nvSpPr>
          <p:cNvPr id="5" name="Text Box 2"/>
          <p:cNvSpPr txBox="1">
            <a:spLocks noChangeArrowheads="1"/>
          </p:cNvSpPr>
          <p:nvPr/>
        </p:nvSpPr>
        <p:spPr bwMode="gray">
          <a:xfrm>
            <a:off x="195264" y="19082"/>
            <a:ext cx="5348844" cy="90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73" tIns="45686" rIns="91373" bIns="45686" anchor="ctr"/>
          <a:lstStyle/>
          <a:p>
            <a:r>
              <a:rPr lang="ru-RU" b="1" dirty="0" smtClean="0">
                <a:solidFill>
                  <a:schemeClr val="tx2"/>
                </a:solidFill>
                <a:latin typeface="Calibri" pitchFamily="34" charset="0"/>
              </a:rPr>
              <a:t>Стратегия </a:t>
            </a:r>
            <a:r>
              <a:rPr lang="ru-RU" b="1" dirty="0">
                <a:solidFill>
                  <a:schemeClr val="tx2"/>
                </a:solidFill>
                <a:latin typeface="Calibri" pitchFamily="34" charset="0"/>
              </a:rPr>
              <a:t>реализации Всероссийской Программы </a:t>
            </a:r>
            <a:r>
              <a:rPr lang="ru-RU" b="1" dirty="0" smtClean="0">
                <a:solidFill>
                  <a:schemeClr val="tx2"/>
                </a:solidFill>
                <a:latin typeface="Calibri" pitchFamily="34" charset="0"/>
              </a:rPr>
              <a:t>развития зарядной инфраструктуры для электротранспорта</a:t>
            </a:r>
            <a:endParaRPr lang="en-US" b="1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15" name="Нашивка 14"/>
          <p:cNvSpPr/>
          <p:nvPr/>
        </p:nvSpPr>
        <p:spPr>
          <a:xfrm>
            <a:off x="287524" y="5985283"/>
            <a:ext cx="2266128" cy="413455"/>
          </a:xfrm>
          <a:prstGeom prst="chevron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033A79"/>
                </a:solidFill>
              </a:rPr>
              <a:t>2013-2014</a:t>
            </a:r>
            <a:endParaRPr lang="ru-RU" sz="1400" b="1" dirty="0">
              <a:solidFill>
                <a:srgbClr val="033A79"/>
              </a:solidFill>
            </a:endParaRP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1233278" y="4126425"/>
            <a:ext cx="5652628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 flipV="1">
            <a:off x="2553652" y="1228116"/>
            <a:ext cx="0" cy="4464405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 flipH="1" flipV="1">
            <a:off x="4752021" y="4869160"/>
            <a:ext cx="1" cy="863583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 flipV="1">
            <a:off x="7020272" y="1649004"/>
            <a:ext cx="0" cy="4048248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Рисунок 36" descr="Описание: Описание: Описание: Описание: Описание: Описание: Описание: Описание: Rosseti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1077837"/>
            <a:ext cx="1247775" cy="381000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Скругленный прямоугольник 19"/>
          <p:cNvSpPr/>
          <p:nvPr/>
        </p:nvSpPr>
        <p:spPr>
          <a:xfrm>
            <a:off x="251520" y="993461"/>
            <a:ext cx="2196244" cy="979946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00" b="1" dirty="0" smtClean="0">
                <a:solidFill>
                  <a:srgbClr val="033A79"/>
                </a:solidFill>
              </a:rPr>
              <a:t>Разработка </a:t>
            </a:r>
            <a:r>
              <a:rPr lang="ru-RU" sz="1400" b="1" dirty="0">
                <a:solidFill>
                  <a:srgbClr val="033A79"/>
                </a:solidFill>
              </a:rPr>
              <a:t>базовых технологических решений (НИОКР)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251520" y="2050096"/>
            <a:ext cx="2196244" cy="1376747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033A79"/>
                </a:solidFill>
              </a:rPr>
              <a:t>Реализация пилотных проектов по применению электротранспорта и созданию зарядной инфраструктуры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2702093" y="1268337"/>
            <a:ext cx="4099856" cy="952027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033A79"/>
                </a:solidFill>
              </a:rPr>
              <a:t>Развертывание зарядной инфраструктуры в ключевых регионах</a:t>
            </a:r>
          </a:p>
        </p:txBody>
      </p:sp>
      <p:sp>
        <p:nvSpPr>
          <p:cNvPr id="26" name="Нашивка 25"/>
          <p:cNvSpPr/>
          <p:nvPr/>
        </p:nvSpPr>
        <p:spPr>
          <a:xfrm>
            <a:off x="2544276" y="6011990"/>
            <a:ext cx="2207745" cy="360040"/>
          </a:xfrm>
          <a:prstGeom prst="chevron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033A79"/>
                </a:solidFill>
              </a:rPr>
              <a:t>2014-2015</a:t>
            </a:r>
            <a:endParaRPr lang="ru-RU" sz="1400" b="1" dirty="0">
              <a:solidFill>
                <a:srgbClr val="033A79"/>
              </a:solidFill>
            </a:endParaRPr>
          </a:p>
        </p:txBody>
      </p:sp>
      <p:sp>
        <p:nvSpPr>
          <p:cNvPr id="27" name="Нашивка 26"/>
          <p:cNvSpPr/>
          <p:nvPr/>
        </p:nvSpPr>
        <p:spPr>
          <a:xfrm>
            <a:off x="4943239" y="6005017"/>
            <a:ext cx="1944216" cy="360040"/>
          </a:xfrm>
          <a:prstGeom prst="chevron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033A79"/>
                </a:solidFill>
              </a:rPr>
              <a:t>2015-2020</a:t>
            </a:r>
            <a:endParaRPr lang="ru-RU" sz="1400" b="1" dirty="0">
              <a:solidFill>
                <a:srgbClr val="033A79"/>
              </a:solidFill>
            </a:endParaRPr>
          </a:p>
        </p:txBody>
      </p:sp>
      <p:sp>
        <p:nvSpPr>
          <p:cNvPr id="29" name="Нашивка 28"/>
          <p:cNvSpPr/>
          <p:nvPr/>
        </p:nvSpPr>
        <p:spPr>
          <a:xfrm>
            <a:off x="7020272" y="5985284"/>
            <a:ext cx="1932410" cy="360040"/>
          </a:xfrm>
          <a:prstGeom prst="chevron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033A79"/>
                </a:solidFill>
              </a:rPr>
              <a:t>2020 и далее</a:t>
            </a:r>
            <a:endParaRPr lang="ru-RU" sz="1400" b="1" dirty="0">
              <a:solidFill>
                <a:srgbClr val="033A79"/>
              </a:solidFill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7223956" y="1973407"/>
            <a:ext cx="1728726" cy="1453436"/>
          </a:xfrm>
          <a:prstGeom prst="roundRect">
            <a:avLst/>
          </a:prstGeom>
          <a:solidFill>
            <a:schemeClr val="accent1"/>
          </a:solidFill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 smtClean="0">
                <a:solidFill>
                  <a:prstClr val="white"/>
                </a:solidFill>
              </a:rPr>
              <a:t>Создание условий </a:t>
            </a:r>
            <a:r>
              <a:rPr lang="ru-RU" sz="1200" b="1" dirty="0">
                <a:solidFill>
                  <a:prstClr val="white"/>
                </a:solidFill>
              </a:rPr>
              <a:t>для внедрения всех видов автономного электротранспорта на территории Российской </a:t>
            </a:r>
            <a:r>
              <a:rPr lang="ru-RU" sz="1200" b="1" dirty="0" smtClean="0">
                <a:solidFill>
                  <a:prstClr val="white"/>
                </a:solidFill>
              </a:rPr>
              <a:t>Федерации</a:t>
            </a:r>
            <a:endParaRPr lang="ru-RU" sz="1200" b="1" dirty="0">
              <a:solidFill>
                <a:prstClr val="white"/>
              </a:solidFill>
            </a:endParaRPr>
          </a:p>
        </p:txBody>
      </p:sp>
      <p:grpSp>
        <p:nvGrpSpPr>
          <p:cNvPr id="24" name="Группа 23"/>
          <p:cNvGrpSpPr/>
          <p:nvPr/>
        </p:nvGrpSpPr>
        <p:grpSpPr>
          <a:xfrm>
            <a:off x="622849" y="3446206"/>
            <a:ext cx="6087901" cy="612933"/>
            <a:chOff x="3688659" y="54856"/>
            <a:chExt cx="4418671" cy="867924"/>
          </a:xfrm>
          <a:scene3d>
            <a:camera prst="orthographicFront"/>
            <a:lightRig rig="threePt" dir="t"/>
          </a:scene3d>
        </p:grpSpPr>
        <p:sp>
          <p:nvSpPr>
            <p:cNvPr id="31" name="Нашивка 30"/>
            <p:cNvSpPr/>
            <p:nvPr/>
          </p:nvSpPr>
          <p:spPr>
            <a:xfrm>
              <a:off x="3688659" y="160752"/>
              <a:ext cx="4418671" cy="762028"/>
            </a:xfrm>
            <a:prstGeom prst="chevron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algn="ctr"/>
              <a:r>
                <a:rPr lang="ru-RU" sz="1000" b="1" dirty="0" smtClean="0">
                  <a:solidFill>
                    <a:srgbClr val="1F497D"/>
                  </a:solidFill>
                </a:rPr>
                <a:t>Комплексный план </a:t>
              </a:r>
              <a:r>
                <a:rPr lang="ru-RU" sz="1000" b="1" dirty="0">
                  <a:solidFill>
                    <a:srgbClr val="1F497D"/>
                  </a:solidFill>
                </a:rPr>
                <a:t>мероприятий поддержки производства и использования экологически чистого </a:t>
              </a:r>
              <a:r>
                <a:rPr lang="ru-RU" sz="1000" b="1" dirty="0" smtClean="0">
                  <a:solidFill>
                    <a:srgbClr val="1F497D"/>
                  </a:solidFill>
                </a:rPr>
                <a:t>транспорта (Поручение Заместителя председателя правительства Российской Федерации  </a:t>
              </a:r>
              <a:r>
                <a:rPr lang="ru-RU" sz="1000" b="1" dirty="0" err="1" smtClean="0">
                  <a:solidFill>
                    <a:srgbClr val="1F497D"/>
                  </a:solidFill>
                </a:rPr>
                <a:t>Дворковича</a:t>
              </a:r>
              <a:r>
                <a:rPr lang="ru-RU" sz="1000" b="1" dirty="0" smtClean="0">
                  <a:solidFill>
                    <a:srgbClr val="1F497D"/>
                  </a:solidFill>
                </a:rPr>
                <a:t> А.Д.  № АД-П9-3076 от 28.04.2014)</a:t>
              </a:r>
              <a:endParaRPr lang="ru-RU" sz="1000" b="1" dirty="0">
                <a:solidFill>
                  <a:srgbClr val="1F497D"/>
                </a:solidFill>
              </a:endParaRPr>
            </a:p>
            <a:p>
              <a:pPr algn="ctr"/>
              <a:endParaRPr lang="ru-RU" sz="1000" b="1" dirty="0">
                <a:solidFill>
                  <a:srgbClr val="1F497D"/>
                </a:solidFill>
              </a:endParaRPr>
            </a:p>
          </p:txBody>
        </p:sp>
        <p:sp>
          <p:nvSpPr>
            <p:cNvPr id="34" name="Нашивка 4"/>
            <p:cNvSpPr/>
            <p:nvPr/>
          </p:nvSpPr>
          <p:spPr>
            <a:xfrm>
              <a:off x="3985051" y="54856"/>
              <a:ext cx="3809499" cy="609172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240" tIns="7620" rIns="0" bIns="7620" numCol="1" spcCol="1270" anchor="ctr" anchorCtr="0">
              <a:noAutofit/>
            </a:bodyPr>
            <a:lstStyle/>
            <a:p>
              <a:pPr defTabSz="533400">
                <a:lnSpc>
                  <a:spcPts val="1700"/>
                </a:lnSpc>
                <a:spcAft>
                  <a:spcPts val="0"/>
                </a:spcAft>
              </a:pPr>
              <a:endParaRPr lang="ru-RU" sz="1200" b="1" dirty="0">
                <a:solidFill>
                  <a:srgbClr val="033A79"/>
                </a:solidFill>
              </a:endParaRPr>
            </a:p>
          </p:txBody>
        </p:sp>
      </p:grpSp>
      <p:grpSp>
        <p:nvGrpSpPr>
          <p:cNvPr id="36" name="Группа 35"/>
          <p:cNvGrpSpPr/>
          <p:nvPr/>
        </p:nvGrpSpPr>
        <p:grpSpPr>
          <a:xfrm>
            <a:off x="622850" y="4235197"/>
            <a:ext cx="6087902" cy="561955"/>
            <a:chOff x="3680465" y="27437"/>
            <a:chExt cx="4418671" cy="1150934"/>
          </a:xfrm>
          <a:scene3d>
            <a:camera prst="orthographicFront"/>
            <a:lightRig rig="threePt" dir="t"/>
          </a:scene3d>
        </p:grpSpPr>
        <p:sp>
          <p:nvSpPr>
            <p:cNvPr id="38" name="Нашивка 37"/>
            <p:cNvSpPr/>
            <p:nvPr/>
          </p:nvSpPr>
          <p:spPr>
            <a:xfrm>
              <a:off x="3680465" y="27437"/>
              <a:ext cx="4418671" cy="1150934"/>
            </a:xfrm>
            <a:prstGeom prst="chevron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algn="ctr" hangingPunct="0"/>
              <a:r>
                <a:rPr lang="ru-RU" sz="1000" b="1" dirty="0">
                  <a:solidFill>
                    <a:srgbClr val="1F497D"/>
                  </a:solidFill>
                </a:rPr>
                <a:t>Комплексный план мероприятий поддержки производства и использования экологически чистого транспорта </a:t>
              </a:r>
              <a:r>
                <a:rPr lang="ru-RU" sz="1000" b="1" dirty="0" smtClean="0">
                  <a:solidFill>
                    <a:srgbClr val="1F497D"/>
                  </a:solidFill>
                </a:rPr>
                <a:t>(Заместителя </a:t>
              </a:r>
              <a:r>
                <a:rPr lang="ru-RU" sz="1000" b="1" dirty="0">
                  <a:solidFill>
                    <a:srgbClr val="1F497D"/>
                  </a:solidFill>
                </a:rPr>
                <a:t>председателя правительства Российской Федерации </a:t>
              </a:r>
              <a:r>
                <a:rPr lang="ru-RU" sz="1000" b="1" dirty="0" err="1">
                  <a:solidFill>
                    <a:srgbClr val="1F497D"/>
                  </a:solidFill>
                </a:rPr>
                <a:t>Дворковича</a:t>
              </a:r>
              <a:r>
                <a:rPr lang="ru-RU" sz="1000" b="1" dirty="0">
                  <a:solidFill>
                    <a:srgbClr val="1F497D"/>
                  </a:solidFill>
                </a:rPr>
                <a:t> </a:t>
              </a:r>
              <a:r>
                <a:rPr lang="ru-RU" sz="1000" b="1" dirty="0" err="1">
                  <a:solidFill>
                    <a:srgbClr val="1F497D"/>
                  </a:solidFill>
                </a:rPr>
                <a:t>А.Д</a:t>
              </a:r>
              <a:r>
                <a:rPr lang="ru-RU" sz="1000" b="1" dirty="0">
                  <a:solidFill>
                    <a:srgbClr val="1F497D"/>
                  </a:solidFill>
                </a:rPr>
                <a:t>. № </a:t>
              </a:r>
              <a:r>
                <a:rPr lang="ru-RU" sz="1000" b="1" dirty="0" smtClean="0">
                  <a:solidFill>
                    <a:srgbClr val="1F497D"/>
                  </a:solidFill>
                </a:rPr>
                <a:t>7116 п-</a:t>
              </a:r>
              <a:r>
                <a:rPr lang="ru-RU" sz="1000" b="1" dirty="0" err="1" smtClean="0">
                  <a:solidFill>
                    <a:srgbClr val="1F497D"/>
                  </a:solidFill>
                </a:rPr>
                <a:t>П9</a:t>
              </a:r>
              <a:r>
                <a:rPr lang="ru-RU" sz="1000" b="1" dirty="0" smtClean="0">
                  <a:solidFill>
                    <a:srgbClr val="1F497D"/>
                  </a:solidFill>
                </a:rPr>
                <a:t> </a:t>
              </a:r>
              <a:r>
                <a:rPr lang="ru-RU" sz="1000" b="1" dirty="0">
                  <a:solidFill>
                    <a:srgbClr val="1F497D"/>
                  </a:solidFill>
                </a:rPr>
                <a:t>от </a:t>
              </a:r>
              <a:r>
                <a:rPr lang="ru-RU" sz="1000" b="1" dirty="0" smtClean="0">
                  <a:solidFill>
                    <a:srgbClr val="1F497D"/>
                  </a:solidFill>
                </a:rPr>
                <a:t>22.10.2014</a:t>
              </a:r>
              <a:r>
                <a:rPr lang="ru-RU" sz="1000" b="1" dirty="0">
                  <a:solidFill>
                    <a:srgbClr val="1F497D"/>
                  </a:solidFill>
                </a:rPr>
                <a:t>)</a:t>
              </a:r>
            </a:p>
          </p:txBody>
        </p:sp>
        <p:sp>
          <p:nvSpPr>
            <p:cNvPr id="40" name="Нашивка 4"/>
            <p:cNvSpPr/>
            <p:nvPr/>
          </p:nvSpPr>
          <p:spPr>
            <a:xfrm>
              <a:off x="3985051" y="54856"/>
              <a:ext cx="3809499" cy="609172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240" tIns="7620" rIns="0" bIns="7620" numCol="1" spcCol="1270" anchor="ctr" anchorCtr="0">
              <a:noAutofit/>
            </a:bodyPr>
            <a:lstStyle/>
            <a:p>
              <a:pPr defTabSz="533400">
                <a:lnSpc>
                  <a:spcPts val="1700"/>
                </a:lnSpc>
                <a:spcAft>
                  <a:spcPts val="0"/>
                </a:spcAft>
              </a:pPr>
              <a:endParaRPr lang="ru-RU" sz="1200" b="1" dirty="0">
                <a:solidFill>
                  <a:srgbClr val="033A79"/>
                </a:solidFill>
              </a:endParaRPr>
            </a:p>
          </p:txBody>
        </p:sp>
      </p:grpSp>
      <p:sp>
        <p:nvSpPr>
          <p:cNvPr id="42" name="AutoShape 36"/>
          <p:cNvSpPr>
            <a:spLocks noChangeArrowheads="1"/>
          </p:cNvSpPr>
          <p:nvPr/>
        </p:nvSpPr>
        <p:spPr bwMode="auto">
          <a:xfrm>
            <a:off x="7704533" y="1458837"/>
            <a:ext cx="647700" cy="385987"/>
          </a:xfrm>
          <a:prstGeom prst="down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200" b="1">
              <a:solidFill>
                <a:prstClr val="white"/>
              </a:solidFill>
            </a:endParaRPr>
          </a:p>
        </p:txBody>
      </p:sp>
      <p:sp>
        <p:nvSpPr>
          <p:cNvPr id="43" name="Rectangle 32"/>
          <p:cNvSpPr>
            <a:spLocks noChangeArrowheads="1"/>
          </p:cNvSpPr>
          <p:nvPr/>
        </p:nvSpPr>
        <p:spPr bwMode="auto">
          <a:xfrm>
            <a:off x="7128284" y="1916833"/>
            <a:ext cx="1913607" cy="3348371"/>
          </a:xfrm>
          <a:prstGeom prst="rect">
            <a:avLst/>
          </a:prstGeom>
          <a:noFill/>
          <a:ln w="9525">
            <a:solidFill>
              <a:schemeClr val="tx2"/>
            </a:solidFill>
            <a:prstDash val="lgDash"/>
            <a:miter lim="800000"/>
            <a:headEnd/>
            <a:tailEnd/>
          </a:ln>
        </p:spPr>
        <p:txBody>
          <a:bodyPr wrap="none" lIns="91418" tIns="45709" rIns="91418" bIns="45709" anchor="ctr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2689547" y="4869160"/>
            <a:ext cx="2026421" cy="1027183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033A79"/>
                </a:solidFill>
              </a:rPr>
              <a:t>Внедрение электротранспорта в ключевых регионах</a:t>
            </a: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316169" y="4893544"/>
            <a:ext cx="2196244" cy="996825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033A79"/>
                </a:solidFill>
              </a:rPr>
              <a:t>Разработка организационной и нормативно-правовой базы</a:t>
            </a: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2702093" y="2348880"/>
            <a:ext cx="4099856" cy="936104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033A79"/>
                </a:solidFill>
              </a:rPr>
              <a:t>Развертывание зарядной инфраструктуры на всей территории РФ</a:t>
            </a: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4853181" y="4893544"/>
            <a:ext cx="2091458" cy="996825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033A79"/>
                </a:solidFill>
              </a:rPr>
              <a:t>Массовое внедрение электротранспорта</a:t>
            </a:r>
          </a:p>
        </p:txBody>
      </p:sp>
      <p:pic>
        <p:nvPicPr>
          <p:cNvPr id="47" name="Picture 2" descr="http://sdelanounas.ru/images/img/b/w/bW9lc2sucnUvdXBsb2FkL21lZGlhbGlicmFyeS80YzgvMDMyLmpwZz9fX2lkPTE0NTc2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55017" y="3771039"/>
            <a:ext cx="1860139" cy="1239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://2.bp.blogspot.com/_zHyCoIsljSc/SxLQQHS9QII/AAAAAAAADP8/vYJFxz5YHdk/s1600/russia.view.jpe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841" y="3673128"/>
            <a:ext cx="653930" cy="843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3060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21"/>
          <p:cNvSpPr>
            <a:spLocks noChangeArrowheads="1"/>
          </p:cNvSpPr>
          <p:nvPr>
            <p:custDataLst>
              <p:tags r:id="rId1"/>
            </p:custDataLst>
          </p:nvPr>
        </p:nvSpPr>
        <p:spPr bwMode="blackWhite">
          <a:xfrm>
            <a:off x="3735388" y="1577975"/>
            <a:ext cx="2487612" cy="957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10" tIns="0" rIns="3810" bIns="0" anchor="ctr"/>
          <a:lstStyle>
            <a:lvl1pPr defTabSz="912813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12813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1281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1281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1281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SzPct val="120000"/>
              <a:buFontTx/>
              <a:buNone/>
            </a:pPr>
            <a:endParaRPr lang="en-US" altLang="ko-KR" sz="1200" b="1">
              <a:solidFill>
                <a:prstClr val="black"/>
              </a:solidFill>
              <a:latin typeface="Arial" pitchFamily="34" charset="0"/>
              <a:ea typeface="Gulim" pitchFamily="34" charset="-127"/>
            </a:endParaRPr>
          </a:p>
        </p:txBody>
      </p:sp>
      <p:sp>
        <p:nvSpPr>
          <p:cNvPr id="68611" name="TextBox 1"/>
          <p:cNvSpPr txBox="1">
            <a:spLocks noChangeArrowheads="1"/>
          </p:cNvSpPr>
          <p:nvPr/>
        </p:nvSpPr>
        <p:spPr bwMode="auto">
          <a:xfrm>
            <a:off x="793750" y="2934463"/>
            <a:ext cx="2305050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400" b="1" dirty="0">
                <a:solidFill>
                  <a:prstClr val="black"/>
                </a:solidFill>
                <a:latin typeface="Arial" pitchFamily="34" charset="0"/>
              </a:rPr>
              <a:t>Краткосрочная стратегия</a:t>
            </a:r>
          </a:p>
        </p:txBody>
      </p:sp>
      <p:sp>
        <p:nvSpPr>
          <p:cNvPr id="68612" name="TextBox 33"/>
          <p:cNvSpPr txBox="1">
            <a:spLocks noChangeArrowheads="1"/>
          </p:cNvSpPr>
          <p:nvPr/>
        </p:nvSpPr>
        <p:spPr bwMode="auto">
          <a:xfrm>
            <a:off x="6275388" y="2959101"/>
            <a:ext cx="229711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400" b="1" dirty="0" smtClean="0">
                <a:solidFill>
                  <a:prstClr val="black"/>
                </a:solidFill>
                <a:latin typeface="Arial" pitchFamily="34" charset="0"/>
              </a:rPr>
              <a:t>Долгосрочная </a:t>
            </a:r>
            <a:r>
              <a:rPr lang="ru-RU" altLang="ru-RU" sz="1400" b="1" dirty="0">
                <a:solidFill>
                  <a:prstClr val="black"/>
                </a:solidFill>
                <a:latin typeface="Arial" pitchFamily="34" charset="0"/>
              </a:rPr>
              <a:t>стратегия</a:t>
            </a:r>
          </a:p>
        </p:txBody>
      </p:sp>
      <p:cxnSp>
        <p:nvCxnSpPr>
          <p:cNvPr id="7" name="Прямая со стрелкой 6"/>
          <p:cNvCxnSpPr/>
          <p:nvPr/>
        </p:nvCxnSpPr>
        <p:spPr>
          <a:xfrm>
            <a:off x="400050" y="3278188"/>
            <a:ext cx="8615363" cy="1866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3186485" y="2936924"/>
            <a:ext cx="0" cy="3063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9003312" y="2949576"/>
            <a:ext cx="0" cy="3063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00050" y="2959101"/>
            <a:ext cx="0" cy="3063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618" name="TextBox 10"/>
          <p:cNvSpPr txBox="1">
            <a:spLocks noChangeArrowheads="1"/>
          </p:cNvSpPr>
          <p:nvPr/>
        </p:nvSpPr>
        <p:spPr bwMode="auto">
          <a:xfrm>
            <a:off x="1112838" y="3284538"/>
            <a:ext cx="14827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400" b="1" dirty="0" smtClean="0">
                <a:solidFill>
                  <a:prstClr val="black"/>
                </a:solidFill>
                <a:latin typeface="Arial" pitchFamily="34" charset="0"/>
              </a:rPr>
              <a:t>2015-2017 </a:t>
            </a:r>
            <a:r>
              <a:rPr lang="ru-RU" altLang="ru-RU" sz="1400" b="1" dirty="0">
                <a:solidFill>
                  <a:prstClr val="black"/>
                </a:solidFill>
                <a:latin typeface="Arial" pitchFamily="34" charset="0"/>
              </a:rPr>
              <a:t>гг.</a:t>
            </a:r>
          </a:p>
        </p:txBody>
      </p:sp>
      <p:sp>
        <p:nvSpPr>
          <p:cNvPr id="68620" name="TextBox 12"/>
          <p:cNvSpPr txBox="1">
            <a:spLocks noChangeArrowheads="1"/>
          </p:cNvSpPr>
          <p:nvPr/>
        </p:nvSpPr>
        <p:spPr bwMode="auto">
          <a:xfrm>
            <a:off x="6699250" y="3255963"/>
            <a:ext cx="14827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400" b="1" dirty="0" smtClean="0">
                <a:solidFill>
                  <a:prstClr val="black"/>
                </a:solidFill>
                <a:latin typeface="Arial" pitchFamily="34" charset="0"/>
              </a:rPr>
              <a:t>2020 г. и далее</a:t>
            </a:r>
            <a:endParaRPr lang="ru-RU" altLang="ru-RU" sz="1400" b="1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34975" y="3625850"/>
            <a:ext cx="2751510" cy="27463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indent="-285750"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Центра компетенции.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ализация 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луатации и технического обслуживания сети ЭЗС</a:t>
            </a:r>
            <a:r>
              <a:rPr lang="ru-RU" sz="1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ирование единого стандарта предоставления зарядных и информационных услуг.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учение рынка востребованности сопутствующих услуг.</a:t>
            </a:r>
          </a:p>
          <a:p>
            <a:pPr>
              <a:defRPr/>
            </a:pPr>
            <a:endParaRPr lang="ru-RU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006517" y="3625850"/>
            <a:ext cx="2996793" cy="28032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indent="-285750"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вершение формирования единой национальной сети ЭЗС.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репление позиции на рынке.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национальной 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ти ЭЗС на всей территории РФ</a:t>
            </a:r>
            <a:r>
              <a:rPr lang="ru-RU" sz="1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рнизация сети ЭЗС.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endParaRPr lang="ru-RU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623" name="Прямоугольник 15"/>
          <p:cNvSpPr>
            <a:spLocks noChangeArrowheads="1"/>
          </p:cNvSpPr>
          <p:nvPr/>
        </p:nvSpPr>
        <p:spPr bwMode="auto">
          <a:xfrm>
            <a:off x="6275388" y="3636963"/>
            <a:ext cx="2578100" cy="273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177800" indent="-177800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ru-RU" altLang="ru-RU" sz="1200">
              <a:solidFill>
                <a:prstClr val="black"/>
              </a:solidFill>
              <a:latin typeface="Arial" pitchFamily="34" charset="0"/>
            </a:endParaRPr>
          </a:p>
        </p:txBody>
      </p:sp>
      <p:graphicFrame>
        <p:nvGraphicFramePr>
          <p:cNvPr id="17" name="Схема 16"/>
          <p:cNvGraphicFramePr/>
          <p:nvPr>
            <p:extLst>
              <p:ext uri="{D42A27DB-BD31-4B8C-83A1-F6EECF244321}">
                <p14:modId xmlns:p14="http://schemas.microsoft.com/office/powerpoint/2010/main" val="2416229870"/>
              </p:ext>
            </p:extLst>
          </p:nvPr>
        </p:nvGraphicFramePr>
        <p:xfrm>
          <a:off x="363607" y="1408177"/>
          <a:ext cx="8639704" cy="14962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434974" y="3656013"/>
            <a:ext cx="3971487" cy="2873375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/>
            </a:pPr>
            <a:endParaRPr lang="ru-RU" sz="1200" b="1" i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68628" name="Title 1"/>
          <p:cNvSpPr txBox="1">
            <a:spLocks/>
          </p:cNvSpPr>
          <p:nvPr/>
        </p:nvSpPr>
        <p:spPr bwMode="auto">
          <a:xfrm>
            <a:off x="279400" y="123825"/>
            <a:ext cx="6065838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912813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1363" indent="-284163" defTabSz="912813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1413" indent="-227013" defTabSz="91281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598613" indent="-227013" defTabSz="91281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4225" indent="-227013" defTabSz="91281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1425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68625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5825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3025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800" b="1" dirty="0">
                <a:solidFill>
                  <a:srgbClr val="376092"/>
                </a:solidFill>
              </a:rPr>
              <a:t>Стратегия развития </a:t>
            </a:r>
            <a:r>
              <a:rPr lang="ru-RU" altLang="ru-RU" sz="1800" b="1" dirty="0" smtClean="0">
                <a:solidFill>
                  <a:srgbClr val="376092"/>
                </a:solidFill>
              </a:rPr>
              <a:t>Коммерческого оператора</a:t>
            </a:r>
            <a:endParaRPr lang="ru-RU" altLang="ru-RU" sz="1800" b="1" dirty="0">
              <a:solidFill>
                <a:srgbClr val="376092"/>
              </a:solidFill>
            </a:endParaRPr>
          </a:p>
        </p:txBody>
      </p:sp>
      <p:sp>
        <p:nvSpPr>
          <p:cNvPr id="68635" name="Номер слайда 2"/>
          <p:cNvSpPr txBox="1">
            <a:spLocks/>
          </p:cNvSpPr>
          <p:nvPr/>
        </p:nvSpPr>
        <p:spPr bwMode="auto">
          <a:xfrm>
            <a:off x="6881813" y="6421438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1363" indent="-284163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1413" indent="-227013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598613" indent="-227013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4225" indent="-227013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1425" indent="-227013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68625" indent="-227013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5825" indent="-227013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3025" indent="-227013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A96D8AD3-B1DD-436C-93E5-02DF3197FAEB}" type="slidenum">
              <a:rPr lang="ru-RU" altLang="ru-RU" sz="1200">
                <a:solidFill>
                  <a:srgbClr val="898989"/>
                </a:solidFill>
              </a:rPr>
              <a:pPr algn="r" eaLnBrk="1" hangingPunct="1">
                <a:spcBef>
                  <a:spcPct val="0"/>
                </a:spcBef>
                <a:buFontTx/>
                <a:buNone/>
              </a:pPr>
              <a:t>9</a:t>
            </a:fld>
            <a:endParaRPr lang="ru-RU" altLang="ru-RU" sz="1200">
              <a:solidFill>
                <a:srgbClr val="898989"/>
              </a:solidFill>
            </a:endParaRPr>
          </a:p>
        </p:txBody>
      </p:sp>
      <p:sp>
        <p:nvSpPr>
          <p:cNvPr id="18" name="TextBox 1"/>
          <p:cNvSpPr txBox="1">
            <a:spLocks noChangeArrowheads="1"/>
          </p:cNvSpPr>
          <p:nvPr/>
        </p:nvSpPr>
        <p:spPr bwMode="auto">
          <a:xfrm>
            <a:off x="3322995" y="2936924"/>
            <a:ext cx="2305050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400" b="1" dirty="0" smtClean="0">
                <a:solidFill>
                  <a:prstClr val="black"/>
                </a:solidFill>
                <a:latin typeface="Arial" pitchFamily="34" charset="0"/>
              </a:rPr>
              <a:t>Среднесрочная стратегия</a:t>
            </a:r>
            <a:endParaRPr lang="ru-RU" altLang="ru-RU" sz="1400" b="1" dirty="0">
              <a:solidFill>
                <a:prstClr val="black"/>
              </a:solidFill>
              <a:latin typeface="Arial" pitchFamily="34" charset="0"/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5932730" y="2904468"/>
            <a:ext cx="0" cy="3063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3312319" y="3625850"/>
            <a:ext cx="2551586" cy="28032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indent="-285750"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диной </a:t>
            </a:r>
            <a:r>
              <a:rPr lang="ru-RU" sz="1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циональной сети ЭЗС.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sz="1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доставление 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рядных и информационных услуг по зарядке электромобилей в едином стандарте</a:t>
            </a:r>
            <a:r>
              <a:rPr lang="ru-RU" sz="1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азание сопутствующих услуг (реклама и иные услуги, определённые на краткосрочном этапе стратегии развития).</a:t>
            </a:r>
            <a:endParaRPr lang="ru-RU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ru-RU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12"/>
          <p:cNvSpPr txBox="1">
            <a:spLocks noChangeArrowheads="1"/>
          </p:cNvSpPr>
          <p:nvPr/>
        </p:nvSpPr>
        <p:spPr bwMode="auto">
          <a:xfrm>
            <a:off x="3735388" y="3243311"/>
            <a:ext cx="14827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400" b="1" dirty="0" smtClean="0">
                <a:solidFill>
                  <a:prstClr val="black"/>
                </a:solidFill>
                <a:latin typeface="Arial" pitchFamily="34" charset="0"/>
              </a:rPr>
              <a:t>2018-2020 </a:t>
            </a:r>
            <a:r>
              <a:rPr lang="ru-RU" altLang="ru-RU" sz="1400" b="1" dirty="0">
                <a:solidFill>
                  <a:prstClr val="black"/>
                </a:solidFill>
                <a:latin typeface="Arial" pitchFamily="34" charset="0"/>
              </a:rPr>
              <a:t>гг.</a:t>
            </a:r>
          </a:p>
        </p:txBody>
      </p:sp>
    </p:spTree>
    <p:extLst>
      <p:ext uri="{BB962C8B-B14F-4D97-AF65-F5344CB8AC3E}">
        <p14:creationId xmlns:p14="http://schemas.microsoft.com/office/powerpoint/2010/main" val="3072597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9.47665236697264040000E+000&quot;&gt;&lt;m_ppcolschidx val=&quot;0&quot;/&gt;&lt;m_rgb r=&quot;27&quot; g=&quot;42&quot; b=&quot;c0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#d.%#m.%y&lt;/m_strFormatTime&gt;&lt;/m_precDefault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 &lt;/m_chGroupingSymbol&gt;&lt;m_chDecimalSymbol17909&gt;,&lt;/m_chDecimalSymbol17909&gt;&lt;m_nGroupingDigits17909 val=&quot;3&quot;/&gt;&lt;m_chGroupingSymbol17909&gt; &lt;/m_chGroupingSymbol17909&gt;&lt;/m_precDefault&gt;&lt;/CDefaultPrec&gt;&lt;/root&gt;"/>
  <p:tag name="THINKCELLUNDODONOTDELETE" val="28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jRDnu8ukuTuTqEXyT0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jRDnu8ukuTuTqEXyT0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jRDnu8ukuTuTqEXyT0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jRDnu8ukuTuTqEXyT0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jRDnu8ukuTuTqEXyT0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jRDnu8ukuTuTqEXyT0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heme/theme1.xml><?xml version="1.0" encoding="utf-8"?>
<a:theme xmlns:a="http://schemas.openxmlformats.org/drawingml/2006/main" name="mto2-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етка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ajorFont>
      <a:min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>
        <a:normAutofit/>
      </a:bodyPr>
      <a:lstStyle>
        <a:defPPr>
          <a:defRPr sz="1200" b="1" i="1" dirty="0" smtClean="0">
            <a:solidFill>
              <a:srgbClr val="FFFFFF"/>
            </a:solidFill>
            <a:latin typeface="Franklin Gothic Book"/>
            <a:cs typeface="Franklin Gothic Book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Минэнерго">
      <a:majorFont>
        <a:latin typeface="Franklin Gothic Demi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ПроектПрезент_Шувалову_к2013-04-17_007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4_ПроектПрезент_Шувалову_к2013-04-17_007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5_ПроектПрезент_Шувалову_к2013-04-17_007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to2-1.potx</Template>
  <TotalTime>27151</TotalTime>
  <Words>990</Words>
  <Application>Microsoft Office PowerPoint</Application>
  <PresentationFormat>Экран (4:3)</PresentationFormat>
  <Paragraphs>198</Paragraphs>
  <Slides>9</Slides>
  <Notes>7</Notes>
  <HiddenSlides>0</HiddenSlides>
  <MMClips>0</MMClips>
  <ScaleCrop>false</ScaleCrop>
  <HeadingPairs>
    <vt:vector size="4" baseType="variant">
      <vt:variant>
        <vt:lpstr>Тема</vt:lpstr>
      </vt:variant>
      <vt:variant>
        <vt:i4>5</vt:i4>
      </vt:variant>
      <vt:variant>
        <vt:lpstr>Заголовки слайдов</vt:lpstr>
      </vt:variant>
      <vt:variant>
        <vt:i4>9</vt:i4>
      </vt:variant>
    </vt:vector>
  </HeadingPairs>
  <TitlesOfParts>
    <vt:vector size="14" baseType="lpstr">
      <vt:lpstr>mto2-1</vt:lpstr>
      <vt:lpstr>Custom Design</vt:lpstr>
      <vt:lpstr>3_ПроектПрезент_Шувалову_к2013-04-17_007</vt:lpstr>
      <vt:lpstr>4_ПроектПрезент_Шувалову_к2013-04-17_007</vt:lpstr>
      <vt:lpstr>5_ПроектПрезент_Шувалову_к2013-04-17_007</vt:lpstr>
      <vt:lpstr>Управление зарядной инфраструктурой для автономного электротранспорта </vt:lpstr>
      <vt:lpstr>Презентация PowerPoint</vt:lpstr>
      <vt:lpstr>Презентация PowerPoint</vt:lpstr>
      <vt:lpstr>Мировой опыт эксплуатации зарядной инфраструктуры</vt:lpstr>
      <vt:lpstr>Предпосылки создания коммерческого  оператора ОАО «Россети»</vt:lpstr>
      <vt:lpstr>Предоставление услуг зарядной инфраструктуры потребителю</vt:lpstr>
      <vt:lpstr>Презентация PowerPoint</vt:lpstr>
      <vt:lpstr>Презентация PowerPoint</vt:lpstr>
      <vt:lpstr>Презентация PowerPoint</vt:lpstr>
    </vt:vector>
  </TitlesOfParts>
  <Company>hom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ГОЛОВОК ПРЕЗЕНТАЦИИ МИНЭНЕРГО РОССИИ</dc:title>
  <dc:creator>Julia</dc:creator>
  <cp:lastModifiedBy>Головченко Ю.А. (026)</cp:lastModifiedBy>
  <cp:revision>1572</cp:revision>
  <cp:lastPrinted>2015-03-16T15:12:21Z</cp:lastPrinted>
  <dcterms:created xsi:type="dcterms:W3CDTF">2012-01-18T14:46:46Z</dcterms:created>
  <dcterms:modified xsi:type="dcterms:W3CDTF">2015-05-26T11:41:59Z</dcterms:modified>
</cp:coreProperties>
</file>